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294" r:id="rId2"/>
    <p:sldId id="306" r:id="rId3"/>
    <p:sldId id="307" r:id="rId4"/>
    <p:sldId id="308" r:id="rId5"/>
    <p:sldId id="309" r:id="rId6"/>
    <p:sldId id="310" r:id="rId7"/>
    <p:sldId id="311" r:id="rId8"/>
    <p:sldId id="312" r:id="rId9"/>
    <p:sldId id="313" r:id="rId10"/>
    <p:sldId id="314" r:id="rId11"/>
    <p:sldId id="315" r:id="rId12"/>
    <p:sldId id="316" r:id="rId13"/>
    <p:sldId id="317" r:id="rId14"/>
    <p:sldId id="318" r:id="rId15"/>
    <p:sldId id="319" r:id="rId16"/>
    <p:sldId id="320" r:id="rId17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100" d="100"/>
          <a:sy n="100" d="100"/>
        </p:scale>
        <p:origin x="1026" y="-50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02952A2-E36A-4C36-9F3E-BBB3A16BEAFF}" type="presOf" srcId="{CBB2EDB4-08BF-49DB-9282-C363CE23E3D0}" destId="{7099C5AD-A666-455F-9144-31509FAE35FB}" srcOrd="0" destOrd="0" presId="urn:microsoft.com/office/officeart/2005/8/layout/pyramid1"/>
    <dgm:cxn modelId="{792CBD91-D1FA-4645-B0E6-1E344FDF5B5F}" type="presOf" srcId="{F014B99B-BC0F-4D51-AA35-03139CBC5BDF}" destId="{158BBE6D-1C8E-4142-827F-B1B32D20364B}" srcOrd="1" destOrd="0" presId="urn:microsoft.com/office/officeart/2005/8/layout/pyramid1"/>
    <dgm:cxn modelId="{CB6F3BE7-F153-4CED-8270-72A0F84A15F2}" type="presOf" srcId="{CBB2EDB4-08BF-49DB-9282-C363CE23E3D0}" destId="{8064A9E2-4365-4891-A563-4210D9FE6047}" srcOrd="1" destOrd="0" presId="urn:microsoft.com/office/officeart/2005/8/layout/pyramid1"/>
    <dgm:cxn modelId="{EBAC2FB6-06C0-4A9E-9E1C-FA45C82478E1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84A2119-F004-4EA4-91AB-934B6F8401A9}" type="presOf" srcId="{8380A261-4409-4C6B-8A07-0D64C5422F6D}" destId="{3405B94A-B110-4EB0-B99D-680A85764021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87C54C2A-2433-412F-AFDC-EF80684BA9FB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1E5B1BBB-EB15-427C-923B-76FB6018FA59}" type="presOf" srcId="{8380A261-4409-4C6B-8A07-0D64C5422F6D}" destId="{EB789FCB-B92C-4A52-BB06-4A95FA62001B}" srcOrd="1" destOrd="0" presId="urn:microsoft.com/office/officeart/2005/8/layout/pyramid1"/>
    <dgm:cxn modelId="{FC54928D-8489-45BE-A419-478DF3152712}" type="presParOf" srcId="{8C222443-D6D5-437E-8A06-7845FF64044F}" destId="{8E592AC7-B094-488F-86DE-8B46AA43A5F7}" srcOrd="0" destOrd="0" presId="urn:microsoft.com/office/officeart/2005/8/layout/pyramid1"/>
    <dgm:cxn modelId="{DC294B94-6F0D-4281-8DCC-7EE503DCE163}" type="presParOf" srcId="{8E592AC7-B094-488F-86DE-8B46AA43A5F7}" destId="{47753778-DDCD-4F66-8671-0963E55AC1AB}" srcOrd="0" destOrd="0" presId="urn:microsoft.com/office/officeart/2005/8/layout/pyramid1"/>
    <dgm:cxn modelId="{32B8B60D-2A65-4E4C-9F0F-98AF62A9611C}" type="presParOf" srcId="{8E592AC7-B094-488F-86DE-8B46AA43A5F7}" destId="{158BBE6D-1C8E-4142-827F-B1B32D20364B}" srcOrd="1" destOrd="0" presId="urn:microsoft.com/office/officeart/2005/8/layout/pyramid1"/>
    <dgm:cxn modelId="{4C8D2E90-553F-4C69-9633-5DB19C6B4730}" type="presParOf" srcId="{8C222443-D6D5-437E-8A06-7845FF64044F}" destId="{08609C55-E487-4600-AFD0-8994D3888F22}" srcOrd="1" destOrd="0" presId="urn:microsoft.com/office/officeart/2005/8/layout/pyramid1"/>
    <dgm:cxn modelId="{9AE41948-5B39-48DA-8B26-40AF888C607C}" type="presParOf" srcId="{08609C55-E487-4600-AFD0-8994D3888F22}" destId="{7099C5AD-A666-455F-9144-31509FAE35FB}" srcOrd="0" destOrd="0" presId="urn:microsoft.com/office/officeart/2005/8/layout/pyramid1"/>
    <dgm:cxn modelId="{EDA768DD-D368-40A1-A0BA-204DC4265C49}" type="presParOf" srcId="{08609C55-E487-4600-AFD0-8994D3888F22}" destId="{8064A9E2-4365-4891-A563-4210D9FE6047}" srcOrd="1" destOrd="0" presId="urn:microsoft.com/office/officeart/2005/8/layout/pyramid1"/>
    <dgm:cxn modelId="{EE52A2AF-CD13-415D-9E54-7F7697F26A0C}" type="presParOf" srcId="{8C222443-D6D5-437E-8A06-7845FF64044F}" destId="{4E66420A-6794-4210-A8DC-A681DFE94B26}" srcOrd="2" destOrd="0" presId="urn:microsoft.com/office/officeart/2005/8/layout/pyramid1"/>
    <dgm:cxn modelId="{3162D02E-FA21-4300-B51B-7304BA500A88}" type="presParOf" srcId="{4E66420A-6794-4210-A8DC-A681DFE94B26}" destId="{3405B94A-B110-4EB0-B99D-680A85764021}" srcOrd="0" destOrd="0" presId="urn:microsoft.com/office/officeart/2005/8/layout/pyramid1"/>
    <dgm:cxn modelId="{48E779E7-74C8-4ED9-B4DB-8D03ECADD262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87603" y="3459958"/>
        <a:ext cx="2925385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12.05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12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12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12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12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12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12.05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12.05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12.05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12.05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12.05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12.05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12.05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png"/><Relationship Id="rId7" Type="http://schemas.openxmlformats.org/officeDocument/2006/relationships/image" Target="../media/image9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eg"/><Relationship Id="rId11" Type="http://schemas.openxmlformats.org/officeDocument/2006/relationships/image" Target="../media/image13.jpeg"/><Relationship Id="rId5" Type="http://schemas.openxmlformats.org/officeDocument/2006/relationships/image" Target="../media/image7.jpeg"/><Relationship Id="rId10" Type="http://schemas.openxmlformats.org/officeDocument/2006/relationships/image" Target="../media/image12.jpeg"/><Relationship Id="rId4" Type="http://schemas.openxmlformats.org/officeDocument/2006/relationships/image" Target="../media/image6.jpeg"/><Relationship Id="rId9" Type="http://schemas.openxmlformats.org/officeDocument/2006/relationships/image" Target="../media/image11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5.png"/><Relationship Id="rId7" Type="http://schemas.openxmlformats.org/officeDocument/2006/relationships/image" Target="../media/image17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image" Target="../media/image2.png"/><Relationship Id="rId7" Type="http://schemas.openxmlformats.org/officeDocument/2006/relationships/image" Target="../media/image22.png"/><Relationship Id="rId12" Type="http://schemas.openxmlformats.org/officeDocument/2006/relationships/image" Target="../media/image27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jpeg"/><Relationship Id="rId10" Type="http://schemas.openxmlformats.org/officeDocument/2006/relationships/image" Target="../media/image25.png"/><Relationship Id="rId4" Type="http://schemas.openxmlformats.org/officeDocument/2006/relationships/image" Target="../media/image19.jpeg"/><Relationship Id="rId9" Type="http://schemas.openxmlformats.org/officeDocument/2006/relationships/image" Target="../media/image24.jpeg"/><Relationship Id="rId1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13" Type="http://schemas.openxmlformats.org/officeDocument/2006/relationships/image" Target="../media/image36.png"/><Relationship Id="rId3" Type="http://schemas.openxmlformats.org/officeDocument/2006/relationships/image" Target="../media/image2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11" Type="http://schemas.openxmlformats.org/officeDocument/2006/relationships/image" Target="../media/image34.png"/><Relationship Id="rId5" Type="http://schemas.openxmlformats.org/officeDocument/2006/relationships/image" Target="../media/image20.jpeg"/><Relationship Id="rId10" Type="http://schemas.openxmlformats.org/officeDocument/2006/relationships/image" Target="../media/image33.png"/><Relationship Id="rId4" Type="http://schemas.openxmlformats.org/officeDocument/2006/relationships/image" Target="../media/image19.jpeg"/><Relationship Id="rId9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2.png"/><Relationship Id="rId7" Type="http://schemas.openxmlformats.org/officeDocument/2006/relationships/image" Target="../media/image39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jpeg"/><Relationship Id="rId5" Type="http://schemas.openxmlformats.org/officeDocument/2006/relationships/image" Target="../media/image37.png"/><Relationship Id="rId4" Type="http://schemas.openxmlformats.org/officeDocument/2006/relationships/image" Target="../media/image28.png"/><Relationship Id="rId9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104644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бюджетное дошкольное образовательное учреждение «Детский сад №23»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карты проекта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внедрению бережливых технологий в системе образования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ой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 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3923928" y="5119241"/>
            <a:ext cx="48515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ведующий </a:t>
            </a:r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.В.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Юзеев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766358" y="3257781"/>
            <a:ext cx="7624018" cy="138499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эвакуации детей и сотрудников МБДОУ «ДС №23» при срабатывании АПС»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5_г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0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реализации проекта</a:t>
            </a: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261610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just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Разработан алгоритм эвакуации, доступный пониманию детей разного возраста;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Разработан алгоритм эвакуации сотрудников ДОУ – визуализированный;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Сокращены временные затраты на эвакуацию.</a:t>
            </a:r>
            <a:endParaRPr lang="ru-RU" sz="2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40399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1</a:t>
            </a:fld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ED9E91D-C7A3-417B-8447-C9745605A7DA}"/>
              </a:ext>
            </a:extLst>
          </p:cNvPr>
          <p:cNvSpPr/>
          <p:nvPr/>
        </p:nvSpPr>
        <p:spPr>
          <a:xfrm>
            <a:off x="755576" y="1268760"/>
            <a:ext cx="3672408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7E098DF-3089-4F1F-8A1D-75A1407185D3}"/>
              </a:ext>
            </a:extLst>
          </p:cNvPr>
          <p:cNvSpPr/>
          <p:nvPr/>
        </p:nvSpPr>
        <p:spPr>
          <a:xfrm>
            <a:off x="4581357" y="1268760"/>
            <a:ext cx="3960440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C35B742-BC40-4565-B4B2-29D3173AEB69}"/>
              </a:ext>
            </a:extLst>
          </p:cNvPr>
          <p:cNvSpPr/>
          <p:nvPr/>
        </p:nvSpPr>
        <p:spPr>
          <a:xfrm>
            <a:off x="755576" y="3789040"/>
            <a:ext cx="3672408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2BF29339-E006-4902-8017-CC0490F48467}"/>
              </a:ext>
            </a:extLst>
          </p:cNvPr>
          <p:cNvSpPr/>
          <p:nvPr/>
        </p:nvSpPr>
        <p:spPr>
          <a:xfrm>
            <a:off x="4644007" y="3813781"/>
            <a:ext cx="3897789" cy="235152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57FDE22F-8DC2-4596-831C-F85C6A7E521F}"/>
              </a:ext>
            </a:extLst>
          </p:cNvPr>
          <p:cNvSpPr txBox="1">
            <a:spLocks/>
          </p:cNvSpPr>
          <p:nvPr/>
        </p:nvSpPr>
        <p:spPr>
          <a:xfrm>
            <a:off x="323528" y="678941"/>
            <a:ext cx="1944216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dirty="0" smtClean="0">
                <a:solidFill>
                  <a:srgbClr val="FF0000"/>
                </a:solidFill>
              </a:rPr>
              <a:t>До </a:t>
            </a:r>
            <a:endParaRPr lang="ru-RU" sz="3200" dirty="0">
              <a:solidFill>
                <a:srgbClr val="FF0000"/>
              </a:solidFill>
            </a:endParaRPr>
          </a:p>
        </p:txBody>
      </p:sp>
      <p:pic>
        <p:nvPicPr>
          <p:cNvPr id="1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2215E2FE-5B06-404E-A5CC-1E216CE0EF9E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059" b="32184"/>
          <a:stretch/>
        </p:blipFill>
        <p:spPr bwMode="auto">
          <a:xfrm>
            <a:off x="6914605" y="313509"/>
            <a:ext cx="1876507" cy="47822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7808A9F0-B84D-443A-824D-519B8F07DC2C}"/>
              </a:ext>
            </a:extLst>
          </p:cNvPr>
          <p:cNvSpPr txBox="1">
            <a:spLocks/>
          </p:cNvSpPr>
          <p:nvPr/>
        </p:nvSpPr>
        <p:spPr>
          <a:xfrm>
            <a:off x="4283704" y="769744"/>
            <a:ext cx="1944216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dirty="0" smtClean="0">
                <a:solidFill>
                  <a:srgbClr val="FF0000"/>
                </a:solidFill>
              </a:rPr>
              <a:t>После </a:t>
            </a:r>
            <a:endParaRPr lang="ru-RU" sz="3200" dirty="0">
              <a:solidFill>
                <a:srgbClr val="FF0000"/>
              </a:solidFill>
            </a:endParaRPr>
          </a:p>
        </p:txBody>
      </p:sp>
      <p:pic>
        <p:nvPicPr>
          <p:cNvPr id="2050" name="Picture 2" descr="https://sun9-14.userapi.com/s/v1/ig2/5ofgyszrl7uPEr4TxP-qbKbCQr08Lev00_JxZlcT5314pkKihEAvABQZcsryapREErvXyyFgAkVnmdkc2LUlWrR9.jpg?quality=95&amp;as=32x43,48x64,72x96,108x144,160x213,240x320,360x480,480x640,540x720,640x853,720x960,1080x1440,1280x1707,1440x1920,1920x2560&amp;from=bu&amp;u=4VwVn3eWW5cVdd5iBn792nVurmDGc02FiMmo24qnOws&amp;cs=1620x216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39196" y="1331818"/>
            <a:ext cx="1574524" cy="2099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s://sun9-75.userapi.com/s/v1/if2/1caFejc9w-WPPMxdiT4ufC_FK_eeNNHV9busElBX6U3euz_T2hcHo5-f5yYlcEczlCR9XtKkpdOUAxWBinPJcKQc.jpg?quality=95&amp;as=32x24,48x36,72x54,108x81,160x120,240x180,360x270,480x360,540x405,640x480,720x540,1080x810,1280x960,1440x1080,2560x1920&amp;from=bu&amp;u=yy382tNj6toRUFgYQCjwl2LV2IH9B6ifk4ma_2gUj7w&amp;cs=2560x192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14" y="4129873"/>
            <a:ext cx="1831627" cy="1373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https://sun9-43.userapi.com/s/v1/ig2/q7In-pcWSt-0j3FLyRF23Tx3V5xgbfsL8nCOkc40ojDHTV95C1FODwdDz0lq8wvtpWA6MllmvUgjus7cdwdwKIEG.jpg?quality=95&amp;as=32x43,48x64,72x96,108x144,160x213,240x320,360x480,480x640,540x720,640x853,720x960,1080x1440,1280x1707,1440x1920,1920x2560&amp;from=bu&amp;u=p5E96HNl-AQB54acgMl3oF5T5tOl6NSyDw_JtNNjTgI&amp;cs=1620x216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7784" y="1332381"/>
            <a:ext cx="1755740" cy="2340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https://sun9-69.userapi.com/s/v1/ig2/HZloHpJcr6WRE32nv1fHPtPOL6WN9crg2Xekv8aiIdzkdzhyOLmZENqvTA0TbOb5oXO3j4o4qByPirgM-y3NsBqi.jpg?quality=95&amp;as=32x43,48x64,72x96,108x144,160x213,240x320,360x480,480x640,540x720,640x853,720x960,1080x1440,1280x1707,1440x1920,1920x2560&amp;from=bu&amp;u=obocmRrS1Vu0zxWjPw_EtVtO7ZKAUwsymUzwQXqtIcU&amp;cs=1620x216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4655" y="3877806"/>
            <a:ext cx="1649049" cy="2198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https://sun9-64.userapi.com/s/v1/ig2/s6rCTivrlHEbZgncDsPRqgduPAiJC4cpmgWwy9OFTZFFLM27y304UHZuCCt15PvnJBN-Q2VIRl5anWCsgZxT7RRC.jpg?quality=95&amp;as=32x43,48x64,72x96,108x144,160x213,240x320,360x480,480x640,540x720,640x853,720x960,1080x1440,1280x1707,1440x1920,1920x2560&amp;from=bu&amp;u=8s9TPNxXchwCgdKPWj80x1VQEBLfEC677tiBTqha1io&amp;cs=1620x216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7597" y="1385058"/>
            <a:ext cx="1642315" cy="2189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https://sun13-2.userapi.com/s/v1/ig2/PBuQUPQwTWEMc1HUn_eztjT3WKLgxrYSU4u0T7o1rkCh0iJVUqo5ee0L72WIB0_HuHqA_LVVY9z58N4CqRsCrYGK.jpg?quality=95&amp;as=32x43,48x64,72x96,108x144,160x213,240x320,360x480,480x640,540x720,640x853,720x960,1080x1440,1280x1707,1440x1920,1920x2560&amp;from=bu&amp;u=q8wA-kjVAVCHAZBxnaDRq7ZoSi0TTj6gIX1vl0cVDGg&amp;cs=1620x216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1886" y="1354700"/>
            <a:ext cx="1690679" cy="2254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2" name="Picture 14" descr="https://sun9-55.userapi.com/s/v1/ig2/Ujz-guOm6zDgmEehI5fotOSd2Oet--D5_xPZXyUvIbrh237e5LaPArzuUliAU4rYYgQOR_zaAbkCFlWuXZ5xccn_.jpg?quality=95&amp;as=32x43,48x64,72x96,108x144,160x213,240x320,360x480,480x640,540x720,640x853,720x960,1080x1440,1280x1707,1440x1920,1920x2560&amp;from=bu&amp;u=9Ra5FK9mmoNaulZUBu18ld_zSpqHaEHe5Uqk-D3wHHE&amp;cs=1620x216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3036" y="3865921"/>
            <a:ext cx="1666876" cy="2222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6" name="Picture 18" descr="https://sun9-77.userapi.com/s/v1/ig2/lzT7icCV61-4O9GMOtDVBmwsSGjkclBlp26qGUROuFxCYc933_dWiI9PYJV1LkKXshZbDySZ3R993wMEPlpJJ51X.jpg?quality=95&amp;as=32x43,48x64,72x96,108x144,160x213,240x320,360x480,480x640,540x720,640x853,720x960,1080x1440,1280x1707,1440x1920,1920x2560&amp;from=bu&amp;u=p0bpvM7bmbnAc51i5-vfBMxWIbBmXCRAEZT2eUdralM&amp;cs=1620x216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1886" y="3836070"/>
            <a:ext cx="1713015" cy="2284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64465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2</a:t>
            </a:fld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ED9E91D-C7A3-417B-8447-C9745605A7DA}"/>
              </a:ext>
            </a:extLst>
          </p:cNvPr>
          <p:cNvSpPr/>
          <p:nvPr/>
        </p:nvSpPr>
        <p:spPr>
          <a:xfrm>
            <a:off x="755576" y="1268760"/>
            <a:ext cx="3672408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7E098DF-3089-4F1F-8A1D-75A1407185D3}"/>
              </a:ext>
            </a:extLst>
          </p:cNvPr>
          <p:cNvSpPr/>
          <p:nvPr/>
        </p:nvSpPr>
        <p:spPr>
          <a:xfrm>
            <a:off x="4581357" y="1268760"/>
            <a:ext cx="3960440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C35B742-BC40-4565-B4B2-29D3173AEB69}"/>
              </a:ext>
            </a:extLst>
          </p:cNvPr>
          <p:cNvSpPr/>
          <p:nvPr/>
        </p:nvSpPr>
        <p:spPr>
          <a:xfrm>
            <a:off x="755576" y="3789040"/>
            <a:ext cx="3672408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2BF29339-E006-4902-8017-CC0490F48467}"/>
              </a:ext>
            </a:extLst>
          </p:cNvPr>
          <p:cNvSpPr/>
          <p:nvPr/>
        </p:nvSpPr>
        <p:spPr>
          <a:xfrm>
            <a:off x="4644007" y="3813781"/>
            <a:ext cx="3897789" cy="235152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2215E2FE-5B06-404E-A5CC-1E216CE0EF9E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059" b="32184"/>
          <a:stretch/>
        </p:blipFill>
        <p:spPr bwMode="auto">
          <a:xfrm>
            <a:off x="6914605" y="313509"/>
            <a:ext cx="1876507" cy="47822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07C11CA5-1A11-435A-907F-3F8DD658125F}"/>
              </a:ext>
            </a:extLst>
          </p:cNvPr>
          <p:cNvSpPr/>
          <p:nvPr/>
        </p:nvSpPr>
        <p:spPr>
          <a:xfrm>
            <a:off x="2701447" y="468383"/>
            <a:ext cx="375981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</a:rPr>
              <a:t>ФОТО</a:t>
            </a:r>
          </a:p>
          <a:p>
            <a:pPr algn="ctr"/>
            <a:r>
              <a:rPr lang="ru-RU" sz="1400" dirty="0">
                <a:solidFill>
                  <a:srgbClr val="FF0000"/>
                </a:solidFill>
              </a:rPr>
              <a:t>Работа над картой текущего или целевого  состояния («ручной» вариант)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61303" y="1566092"/>
            <a:ext cx="2492896" cy="186967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361569" y="1567860"/>
            <a:ext cx="2514961" cy="1886221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3603" y="3809177"/>
            <a:ext cx="3859193" cy="2894395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3824" y="1155883"/>
            <a:ext cx="3838752" cy="2602017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460" y="3891392"/>
            <a:ext cx="3664024" cy="2748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4348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DB4BCE5-C890-4D1E-9F18-8F0E05A14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90687" y="6360982"/>
            <a:ext cx="2133600" cy="365125"/>
          </a:xfrm>
        </p:spPr>
        <p:txBody>
          <a:bodyPr/>
          <a:lstStyle/>
          <a:p>
            <a:fld id="{C33C34FD-A43B-634A-9B8C-9626670F7CE8}" type="slidenum">
              <a:rPr lang="en-US" smtClean="0"/>
              <a:t>13</a:t>
            </a:fld>
            <a:endParaRPr lang="en-US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3E82F2A4-982E-4AE2-B3B2-6E9E951DDA85}"/>
              </a:ext>
            </a:extLst>
          </p:cNvPr>
          <p:cNvSpPr/>
          <p:nvPr/>
        </p:nvSpPr>
        <p:spPr>
          <a:xfrm>
            <a:off x="78574" y="1586531"/>
            <a:ext cx="2412274" cy="1306286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Стрелка: вниз 10">
            <a:extLst>
              <a:ext uri="{FF2B5EF4-FFF2-40B4-BE49-F238E27FC236}">
                <a16:creationId xmlns:a16="http://schemas.microsoft.com/office/drawing/2014/main" id="{C302F457-5E7F-41D4-B725-3E2A6E398EBC}"/>
              </a:ext>
            </a:extLst>
          </p:cNvPr>
          <p:cNvSpPr/>
          <p:nvPr/>
        </p:nvSpPr>
        <p:spPr>
          <a:xfrm>
            <a:off x="869001" y="2936654"/>
            <a:ext cx="484632" cy="978408"/>
          </a:xfrm>
          <a:prstGeom prst="downArrow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одзаголовок 8">
            <a:extLst>
              <a:ext uri="{FF2B5EF4-FFF2-40B4-BE49-F238E27FC236}">
                <a16:creationId xmlns:a16="http://schemas.microsoft.com/office/drawing/2014/main" id="{97D22034-4C4E-4EB6-AF86-C84C633C2DB0}"/>
              </a:ext>
            </a:extLst>
          </p:cNvPr>
          <p:cNvSpPr>
            <a:spLocks/>
          </p:cNvSpPr>
          <p:nvPr/>
        </p:nvSpPr>
        <p:spPr bwMode="auto">
          <a:xfrm>
            <a:off x="3190646" y="5987506"/>
            <a:ext cx="2412274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546100" indent="-533400" algn="just">
              <a:lnSpc>
                <a:spcPct val="90000"/>
              </a:lnSpc>
              <a:spcBef>
                <a:spcPts val="100"/>
              </a:spcBef>
              <a:buFont typeface="Arial" charset="0"/>
              <a:buNone/>
            </a:pPr>
            <a:r>
              <a:rPr lang="ru-RU" sz="1200" b="1" dirty="0" smtClean="0">
                <a:solidFill>
                  <a:srgbClr val="193F61"/>
                </a:solidFill>
                <a:latin typeface="Times New Roman" pitchFamily="18" charset="0"/>
                <a:cs typeface="Times New Roman" pitchFamily="18" charset="0"/>
              </a:rPr>
              <a:t>Собрать воспитанников, дать указания к эвакуации</a:t>
            </a:r>
            <a:endParaRPr lang="ru-RU" sz="1200" b="1" dirty="0">
              <a:solidFill>
                <a:srgbClr val="193F6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Подзаголовок 8">
            <a:extLst>
              <a:ext uri="{FF2B5EF4-FFF2-40B4-BE49-F238E27FC236}">
                <a16:creationId xmlns:a16="http://schemas.microsoft.com/office/drawing/2014/main" id="{A43E56DC-0466-41D7-B6CE-7E53F06EBD69}"/>
              </a:ext>
            </a:extLst>
          </p:cNvPr>
          <p:cNvSpPr>
            <a:spLocks/>
          </p:cNvSpPr>
          <p:nvPr/>
        </p:nvSpPr>
        <p:spPr bwMode="auto">
          <a:xfrm>
            <a:off x="6142205" y="6010774"/>
            <a:ext cx="2538756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546100" indent="-533400" algn="just">
              <a:lnSpc>
                <a:spcPct val="90000"/>
              </a:lnSpc>
              <a:spcBef>
                <a:spcPts val="100"/>
              </a:spcBef>
              <a:buFont typeface="Arial" charset="0"/>
              <a:buNone/>
            </a:pPr>
            <a:r>
              <a:rPr lang="ru-RU" sz="1200" b="1" dirty="0" smtClean="0">
                <a:solidFill>
                  <a:srgbClr val="193F61"/>
                </a:solidFill>
                <a:latin typeface="Times New Roman" pitchFamily="18" charset="0"/>
                <a:cs typeface="Times New Roman" pitchFamily="18" charset="0"/>
              </a:rPr>
              <a:t>Приступить к эвакуации</a:t>
            </a:r>
            <a:endParaRPr lang="ru-RU" sz="1200" b="1" dirty="0">
              <a:solidFill>
                <a:srgbClr val="193F6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Подзаголовок 8">
            <a:extLst>
              <a:ext uri="{FF2B5EF4-FFF2-40B4-BE49-F238E27FC236}">
                <a16:creationId xmlns:a16="http://schemas.microsoft.com/office/drawing/2014/main" id="{09548145-737E-4DE1-A226-0AC20569DBD7}"/>
              </a:ext>
            </a:extLst>
          </p:cNvPr>
          <p:cNvSpPr>
            <a:spLocks/>
          </p:cNvSpPr>
          <p:nvPr/>
        </p:nvSpPr>
        <p:spPr bwMode="auto">
          <a:xfrm>
            <a:off x="1562085" y="2948274"/>
            <a:ext cx="2555322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indent="12700" algn="just">
              <a:lnSpc>
                <a:spcPct val="90000"/>
              </a:lnSpc>
              <a:spcBef>
                <a:spcPts val="100"/>
              </a:spcBef>
              <a:buFont typeface="Arial" charset="0"/>
              <a:buNone/>
            </a:pPr>
            <a:r>
              <a:rPr lang="ru-RU" sz="1200" b="1" dirty="0" smtClean="0">
                <a:solidFill>
                  <a:srgbClr val="193F61"/>
                </a:solidFill>
                <a:latin typeface="Times New Roman" pitchFamily="18" charset="0"/>
                <a:cs typeface="Times New Roman" pitchFamily="18" charset="0"/>
              </a:rPr>
              <a:t>Получение информации о причинах срабатывания АПС</a:t>
            </a:r>
            <a:endParaRPr lang="ru-RU" sz="1200" b="1" dirty="0">
              <a:solidFill>
                <a:srgbClr val="193F6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Подзаголовок 8">
            <a:extLst>
              <a:ext uri="{FF2B5EF4-FFF2-40B4-BE49-F238E27FC236}">
                <a16:creationId xmlns:a16="http://schemas.microsoft.com/office/drawing/2014/main" id="{6C1A7CEA-79E7-4C37-9F2D-2381A1712774}"/>
              </a:ext>
            </a:extLst>
          </p:cNvPr>
          <p:cNvSpPr>
            <a:spLocks/>
          </p:cNvSpPr>
          <p:nvPr/>
        </p:nvSpPr>
        <p:spPr bwMode="auto">
          <a:xfrm>
            <a:off x="6695231" y="3163200"/>
            <a:ext cx="235567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546100" indent="-533400" algn="just">
              <a:lnSpc>
                <a:spcPct val="90000"/>
              </a:lnSpc>
              <a:spcBef>
                <a:spcPts val="100"/>
              </a:spcBef>
              <a:buFont typeface="Arial" charset="0"/>
              <a:buNone/>
            </a:pPr>
            <a:r>
              <a:rPr lang="ru-RU" sz="1200" b="1" dirty="0" smtClean="0">
                <a:solidFill>
                  <a:srgbClr val="193F61"/>
                </a:solidFill>
                <a:latin typeface="Times New Roman" pitchFamily="18" charset="0"/>
                <a:cs typeface="Times New Roman" pitchFamily="18" charset="0"/>
              </a:rPr>
              <a:t>Построиться в месте сбора, сделать доклад </a:t>
            </a:r>
            <a:endParaRPr lang="ru-RU" sz="1200" b="1" dirty="0">
              <a:solidFill>
                <a:srgbClr val="193F6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Подзаголовок 8">
            <a:extLst>
              <a:ext uri="{FF2B5EF4-FFF2-40B4-BE49-F238E27FC236}">
                <a16:creationId xmlns:a16="http://schemas.microsoft.com/office/drawing/2014/main" id="{8520E2C6-3A2E-4D78-BEBF-7BFF53FAEBBC}"/>
              </a:ext>
            </a:extLst>
          </p:cNvPr>
          <p:cNvSpPr>
            <a:spLocks/>
          </p:cNvSpPr>
          <p:nvPr/>
        </p:nvSpPr>
        <p:spPr bwMode="auto">
          <a:xfrm>
            <a:off x="433016" y="5968465"/>
            <a:ext cx="235567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546100" indent="-533400" algn="just">
              <a:lnSpc>
                <a:spcPct val="90000"/>
              </a:lnSpc>
              <a:spcBef>
                <a:spcPts val="100"/>
              </a:spcBef>
              <a:buFont typeface="Arial" charset="0"/>
              <a:buNone/>
            </a:pPr>
            <a:r>
              <a:rPr lang="ru-RU" sz="1200" b="1" dirty="0" smtClean="0">
                <a:solidFill>
                  <a:srgbClr val="193F61"/>
                </a:solidFill>
                <a:latin typeface="Times New Roman" pitchFamily="18" charset="0"/>
                <a:cs typeface="Times New Roman" pitchFamily="18" charset="0"/>
              </a:rPr>
              <a:t>Взять необходимую документацию</a:t>
            </a:r>
            <a:endParaRPr lang="ru-RU" sz="1200" b="1" dirty="0">
              <a:solidFill>
                <a:srgbClr val="193F6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C97AEB70-9EA9-4C57-BE5C-E52F6A8FDC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708ECF60-A420-4D5F-A982-55BD96D8DA40}"/>
              </a:ext>
            </a:extLst>
          </p:cNvPr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26" name="Picture 2">
            <a:extLst>
              <a:ext uri="{FF2B5EF4-FFF2-40B4-BE49-F238E27FC236}">
                <a16:creationId xmlns:a16="http://schemas.microsoft.com/office/drawing/2014/main" id="{25C2AB8E-0282-4FE1-AE9C-E817C65D84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BE10DFFA-228E-4B8F-9ED3-026F59A047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844" y="767536"/>
            <a:ext cx="8840644" cy="634082"/>
          </a:xfrm>
        </p:spPr>
        <p:txBody>
          <a:bodyPr>
            <a:normAutofit fontScale="90000"/>
          </a:bodyPr>
          <a:lstStyle/>
          <a:p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ндарт процесса </a:t>
            </a:r>
            <a:br>
              <a:rPr lang="ru-RU" sz="2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2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эвакуации детей и сотрудников </a:t>
            </a:r>
            <a:r>
              <a:rPr lang="ru-RU" sz="2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БДОУ </a:t>
            </a:r>
            <a:r>
              <a:rPr lang="ru-RU" sz="22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ДС №23» при срабатывании АПС</a:t>
            </a:r>
            <a:r>
              <a:rPr lang="ru-RU" sz="27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br>
              <a:rPr lang="ru-RU" sz="27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4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Стрелка: вниз 26">
            <a:extLst>
              <a:ext uri="{FF2B5EF4-FFF2-40B4-BE49-F238E27FC236}">
                <a16:creationId xmlns:a16="http://schemas.microsoft.com/office/drawing/2014/main" id="{CDC8EC71-4E0C-42CD-A90D-C75F31F5D7F0}"/>
              </a:ext>
            </a:extLst>
          </p:cNvPr>
          <p:cNvSpPr/>
          <p:nvPr/>
        </p:nvSpPr>
        <p:spPr>
          <a:xfrm rot="16200000">
            <a:off x="2197709" y="4619118"/>
            <a:ext cx="484632" cy="781140"/>
          </a:xfrm>
          <a:prstGeom prst="downArrow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трелка: вниз 28">
            <a:extLst>
              <a:ext uri="{FF2B5EF4-FFF2-40B4-BE49-F238E27FC236}">
                <a16:creationId xmlns:a16="http://schemas.microsoft.com/office/drawing/2014/main" id="{38027A5E-D40B-4C57-81E0-5FAC1D5CD31C}"/>
              </a:ext>
            </a:extLst>
          </p:cNvPr>
          <p:cNvSpPr/>
          <p:nvPr/>
        </p:nvSpPr>
        <p:spPr>
          <a:xfrm rot="16200000">
            <a:off x="5599454" y="4832502"/>
            <a:ext cx="484632" cy="781140"/>
          </a:xfrm>
          <a:prstGeom prst="downArrow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2" name="Группа 21"/>
          <p:cNvGrpSpPr/>
          <p:nvPr/>
        </p:nvGrpSpPr>
        <p:grpSpPr>
          <a:xfrm>
            <a:off x="215332" y="1592040"/>
            <a:ext cx="2330821" cy="1753722"/>
            <a:chOff x="0" y="0"/>
            <a:chExt cx="3867150" cy="1839280"/>
          </a:xfrm>
        </p:grpSpPr>
        <p:pic>
          <p:nvPicPr>
            <p:cNvPr id="30" name="Рисунок 29" descr="Picture background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43075" y="0"/>
              <a:ext cx="2124075" cy="14224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1" name="Выгнутая влево стрелка 30"/>
            <p:cNvSpPr/>
            <p:nvPr/>
          </p:nvSpPr>
          <p:spPr>
            <a:xfrm rot="16200000">
              <a:off x="1462087" y="1100138"/>
              <a:ext cx="521019" cy="957265"/>
            </a:xfrm>
            <a:prstGeom prst="curved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pic>
          <p:nvPicPr>
            <p:cNvPr id="32" name="Рисунок 31" descr="Picture background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8100"/>
              <a:ext cx="1303655" cy="123761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33" name="Группа 32"/>
          <p:cNvGrpSpPr/>
          <p:nvPr/>
        </p:nvGrpSpPr>
        <p:grpSpPr>
          <a:xfrm>
            <a:off x="239277" y="3970519"/>
            <a:ext cx="1398270" cy="2040255"/>
            <a:chOff x="0" y="0"/>
            <a:chExt cx="1398270" cy="2040255"/>
          </a:xfrm>
        </p:grpSpPr>
        <p:pic>
          <p:nvPicPr>
            <p:cNvPr id="34" name="Рисунок 3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1398270" cy="204025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5" name="Рисунок 3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5775" y="1200150"/>
              <a:ext cx="204470" cy="27749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6" name="Рисунок 3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1075" y="600075"/>
              <a:ext cx="417195" cy="44958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37" name="Группа 36"/>
          <p:cNvGrpSpPr/>
          <p:nvPr/>
        </p:nvGrpSpPr>
        <p:grpSpPr>
          <a:xfrm>
            <a:off x="2951228" y="3904335"/>
            <a:ext cx="3185875" cy="1956983"/>
            <a:chOff x="0" y="0"/>
            <a:chExt cx="4298315" cy="2352675"/>
          </a:xfrm>
        </p:grpSpPr>
        <p:pic>
          <p:nvPicPr>
            <p:cNvPr id="38" name="Рисунок 37" descr="Picture background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42900"/>
              <a:ext cx="3181350" cy="169862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9" name="Рисунок 38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67050" y="0"/>
              <a:ext cx="1231265" cy="114236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0" name="Овал 39"/>
            <p:cNvSpPr/>
            <p:nvPr/>
          </p:nvSpPr>
          <p:spPr>
            <a:xfrm>
              <a:off x="1304925" y="1790700"/>
              <a:ext cx="514350" cy="561975"/>
            </a:xfrm>
            <a:prstGeom prst="ellipse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</p:grpSp>
      <p:grpSp>
        <p:nvGrpSpPr>
          <p:cNvPr id="42" name="Группа 41"/>
          <p:cNvGrpSpPr/>
          <p:nvPr/>
        </p:nvGrpSpPr>
        <p:grpSpPr>
          <a:xfrm>
            <a:off x="6417548" y="4173765"/>
            <a:ext cx="1867470" cy="1609378"/>
            <a:chOff x="0" y="0"/>
            <a:chExt cx="3590925" cy="2750185"/>
          </a:xfrm>
        </p:grpSpPr>
        <p:pic>
          <p:nvPicPr>
            <p:cNvPr id="43" name="Рисунок 4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875" y="0"/>
              <a:ext cx="3448050" cy="275018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4" name="Рисунок 43" descr="Picture background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8569606">
              <a:off x="0" y="800100"/>
              <a:ext cx="428625" cy="42862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" name="Стрелка: вверх 13">
            <a:extLst>
              <a:ext uri="{FF2B5EF4-FFF2-40B4-BE49-F238E27FC236}">
                <a16:creationId xmlns:a16="http://schemas.microsoft.com/office/drawing/2014/main" id="{866ECA75-1974-466E-A76F-CFC23C641FEF}"/>
              </a:ext>
            </a:extLst>
          </p:cNvPr>
          <p:cNvSpPr/>
          <p:nvPr/>
        </p:nvSpPr>
        <p:spPr>
          <a:xfrm>
            <a:off x="7388434" y="3621302"/>
            <a:ext cx="484632" cy="932609"/>
          </a:xfrm>
          <a:prstGeom prst="upArrow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5" name="Группа 44"/>
          <p:cNvGrpSpPr/>
          <p:nvPr/>
        </p:nvGrpSpPr>
        <p:grpSpPr>
          <a:xfrm>
            <a:off x="6892167" y="1655648"/>
            <a:ext cx="1961798" cy="1441723"/>
            <a:chOff x="0" y="0"/>
            <a:chExt cx="2895600" cy="2714625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2895600" cy="216090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7" name="Овал 46"/>
            <p:cNvSpPr/>
            <p:nvPr/>
          </p:nvSpPr>
          <p:spPr>
            <a:xfrm>
              <a:off x="1447800" y="2095500"/>
              <a:ext cx="752475" cy="619125"/>
            </a:xfrm>
            <a:prstGeom prst="ellipse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ru-RU" sz="1100">
                  <a:effectLst/>
                  <a:ea typeface="Calibri" panose="020F0502020204030204" pitchFamily="34" charset="0"/>
                  <a:cs typeface="Times New Roman" panose="02020603050405020304" pitchFamily="18" charset="0"/>
                </a:rPr>
                <a:t>ДС 42</a:t>
              </a:r>
            </a:p>
          </p:txBody>
        </p:sp>
      </p:grpSp>
      <p:grpSp>
        <p:nvGrpSpPr>
          <p:cNvPr id="48" name="Группа 47"/>
          <p:cNvGrpSpPr/>
          <p:nvPr/>
        </p:nvGrpSpPr>
        <p:grpSpPr>
          <a:xfrm>
            <a:off x="4299659" y="1586531"/>
            <a:ext cx="2391028" cy="2252824"/>
            <a:chOff x="0" y="0"/>
            <a:chExt cx="2212340" cy="2609850"/>
          </a:xfrm>
        </p:grpSpPr>
        <p:pic>
          <p:nvPicPr>
            <p:cNvPr id="49" name="Рисунок 48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590550" y="0"/>
              <a:ext cx="1231265" cy="114236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0" name="Надпись 2"/>
            <p:cNvSpPr txBox="1">
              <a:spLocks noChangeArrowheads="1"/>
            </p:cNvSpPr>
            <p:nvPr/>
          </p:nvSpPr>
          <p:spPr bwMode="auto">
            <a:xfrm>
              <a:off x="0" y="1409700"/>
              <a:ext cx="2212340" cy="120015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t" anchorCtr="0">
              <a:sp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ru-RU" sz="1100" dirty="0"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Группа №________</a:t>
              </a:r>
              <a:endPara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ru-RU" sz="1100" dirty="0"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Эвакуировано _______ детей</a:t>
              </a:r>
              <a:endPara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ru-RU" sz="1100" dirty="0"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______ взрослых</a:t>
              </a:r>
              <a:endPara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ru-RU" sz="1100" dirty="0">
                  <a:effectLst/>
                  <a:latin typeface="Times New Roman" panose="02020603050405020304" pitchFamily="18" charset="0"/>
                  <a:ea typeface="Calibri" panose="020F0502020204030204" pitchFamily="34" charset="0"/>
                  <a:cs typeface="Times New Roman" panose="02020603050405020304" pitchFamily="18" charset="0"/>
                </a:rPr>
                <a:t>Причина эвакуации____________</a:t>
              </a:r>
              <a:endPara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2182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DB4BCE5-C890-4D1E-9F18-8F0E05A14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90687" y="6360982"/>
            <a:ext cx="2133600" cy="365125"/>
          </a:xfrm>
        </p:spPr>
        <p:txBody>
          <a:bodyPr/>
          <a:lstStyle/>
          <a:p>
            <a:fld id="{C33C34FD-A43B-634A-9B8C-9626670F7CE8}" type="slidenum">
              <a:rPr lang="en-US" smtClean="0"/>
              <a:t>14</a:t>
            </a:fld>
            <a:endParaRPr lang="en-US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3E82F2A4-982E-4AE2-B3B2-6E9E951DDA85}"/>
              </a:ext>
            </a:extLst>
          </p:cNvPr>
          <p:cNvSpPr/>
          <p:nvPr/>
        </p:nvSpPr>
        <p:spPr>
          <a:xfrm>
            <a:off x="78574" y="1586531"/>
            <a:ext cx="2412274" cy="1306286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Стрелка: вниз 10">
            <a:extLst>
              <a:ext uri="{FF2B5EF4-FFF2-40B4-BE49-F238E27FC236}">
                <a16:creationId xmlns:a16="http://schemas.microsoft.com/office/drawing/2014/main" id="{C302F457-5E7F-41D4-B725-3E2A6E398EBC}"/>
              </a:ext>
            </a:extLst>
          </p:cNvPr>
          <p:cNvSpPr/>
          <p:nvPr/>
        </p:nvSpPr>
        <p:spPr>
          <a:xfrm>
            <a:off x="869001" y="2936654"/>
            <a:ext cx="484632" cy="978408"/>
          </a:xfrm>
          <a:prstGeom prst="downArrow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одзаголовок 8">
            <a:extLst>
              <a:ext uri="{FF2B5EF4-FFF2-40B4-BE49-F238E27FC236}">
                <a16:creationId xmlns:a16="http://schemas.microsoft.com/office/drawing/2014/main" id="{97D22034-4C4E-4EB6-AF86-C84C633C2DB0}"/>
              </a:ext>
            </a:extLst>
          </p:cNvPr>
          <p:cNvSpPr>
            <a:spLocks/>
          </p:cNvSpPr>
          <p:nvPr/>
        </p:nvSpPr>
        <p:spPr bwMode="auto">
          <a:xfrm>
            <a:off x="3190646" y="5987506"/>
            <a:ext cx="2412274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>
              <a:lnSpc>
                <a:spcPct val="90000"/>
              </a:lnSpc>
              <a:spcBef>
                <a:spcPts val="100"/>
              </a:spcBef>
              <a:buFont typeface="Arial" charset="0"/>
              <a:buNone/>
            </a:pPr>
            <a:r>
              <a:rPr lang="ru-RU" sz="1200" b="1" dirty="0" smtClean="0">
                <a:solidFill>
                  <a:srgbClr val="193F61"/>
                </a:solidFill>
                <a:latin typeface="Times New Roman" pitchFamily="18" charset="0"/>
                <a:cs typeface="Times New Roman" pitchFamily="18" charset="0"/>
              </a:rPr>
              <a:t>В холодную погоду собрать верхнюю одежду или одеяла</a:t>
            </a:r>
            <a:endParaRPr lang="ru-RU" sz="1200" b="1" dirty="0">
              <a:solidFill>
                <a:srgbClr val="193F6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Подзаголовок 8">
            <a:extLst>
              <a:ext uri="{FF2B5EF4-FFF2-40B4-BE49-F238E27FC236}">
                <a16:creationId xmlns:a16="http://schemas.microsoft.com/office/drawing/2014/main" id="{A43E56DC-0466-41D7-B6CE-7E53F06EBD69}"/>
              </a:ext>
            </a:extLst>
          </p:cNvPr>
          <p:cNvSpPr>
            <a:spLocks/>
          </p:cNvSpPr>
          <p:nvPr/>
        </p:nvSpPr>
        <p:spPr bwMode="auto">
          <a:xfrm>
            <a:off x="6142205" y="6010774"/>
            <a:ext cx="2538756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indent="12700" algn="just">
              <a:lnSpc>
                <a:spcPct val="90000"/>
              </a:lnSpc>
              <a:spcBef>
                <a:spcPts val="100"/>
              </a:spcBef>
              <a:buFont typeface="Arial" charset="0"/>
              <a:buNone/>
            </a:pPr>
            <a:r>
              <a:rPr lang="ru-RU" sz="1200" b="1" dirty="0" smtClean="0">
                <a:solidFill>
                  <a:srgbClr val="193F61"/>
                </a:solidFill>
                <a:latin typeface="Times New Roman" pitchFamily="18" charset="0"/>
                <a:cs typeface="Times New Roman" pitchFamily="18" charset="0"/>
              </a:rPr>
              <a:t>Убедиться, что все дети покинули помещение. Приступить к эвакуации</a:t>
            </a:r>
            <a:endParaRPr lang="ru-RU" sz="1200" b="1" dirty="0">
              <a:solidFill>
                <a:srgbClr val="193F6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Подзаголовок 8">
            <a:extLst>
              <a:ext uri="{FF2B5EF4-FFF2-40B4-BE49-F238E27FC236}">
                <a16:creationId xmlns:a16="http://schemas.microsoft.com/office/drawing/2014/main" id="{09548145-737E-4DE1-A226-0AC20569DBD7}"/>
              </a:ext>
            </a:extLst>
          </p:cNvPr>
          <p:cNvSpPr>
            <a:spLocks/>
          </p:cNvSpPr>
          <p:nvPr/>
        </p:nvSpPr>
        <p:spPr bwMode="auto">
          <a:xfrm>
            <a:off x="1562085" y="2948274"/>
            <a:ext cx="2555322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indent="12700" algn="just">
              <a:lnSpc>
                <a:spcPct val="90000"/>
              </a:lnSpc>
              <a:spcBef>
                <a:spcPts val="100"/>
              </a:spcBef>
              <a:buFont typeface="Arial" charset="0"/>
              <a:buNone/>
            </a:pPr>
            <a:r>
              <a:rPr lang="ru-RU" sz="1200" b="1" dirty="0" smtClean="0">
                <a:solidFill>
                  <a:srgbClr val="193F61"/>
                </a:solidFill>
                <a:latin typeface="Times New Roman" pitchFamily="18" charset="0"/>
                <a:cs typeface="Times New Roman" pitchFamily="18" charset="0"/>
              </a:rPr>
              <a:t>Получение информации о причинах срабатывания АПС</a:t>
            </a:r>
            <a:endParaRPr lang="ru-RU" sz="1200" b="1" dirty="0">
              <a:solidFill>
                <a:srgbClr val="193F6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Подзаголовок 8">
            <a:extLst>
              <a:ext uri="{FF2B5EF4-FFF2-40B4-BE49-F238E27FC236}">
                <a16:creationId xmlns:a16="http://schemas.microsoft.com/office/drawing/2014/main" id="{6C1A7CEA-79E7-4C37-9F2D-2381A1712774}"/>
              </a:ext>
            </a:extLst>
          </p:cNvPr>
          <p:cNvSpPr>
            <a:spLocks/>
          </p:cNvSpPr>
          <p:nvPr/>
        </p:nvSpPr>
        <p:spPr bwMode="auto">
          <a:xfrm>
            <a:off x="4422892" y="2271160"/>
            <a:ext cx="2145150" cy="3443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546100" indent="-533400" algn="just">
              <a:lnSpc>
                <a:spcPct val="90000"/>
              </a:lnSpc>
              <a:spcBef>
                <a:spcPts val="100"/>
              </a:spcBef>
              <a:buFont typeface="Arial" charset="0"/>
              <a:buNone/>
            </a:pPr>
            <a:r>
              <a:rPr lang="ru-RU" sz="1200" b="1" dirty="0" smtClean="0">
                <a:solidFill>
                  <a:srgbClr val="193F61"/>
                </a:solidFill>
                <a:latin typeface="Times New Roman" pitchFamily="18" charset="0"/>
                <a:cs typeface="Times New Roman" pitchFamily="18" charset="0"/>
              </a:rPr>
              <a:t>Построиться в месте сбора.</a:t>
            </a:r>
            <a:endParaRPr lang="ru-RU" sz="1200" b="1" dirty="0">
              <a:solidFill>
                <a:srgbClr val="193F6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Подзаголовок 8">
            <a:extLst>
              <a:ext uri="{FF2B5EF4-FFF2-40B4-BE49-F238E27FC236}">
                <a16:creationId xmlns:a16="http://schemas.microsoft.com/office/drawing/2014/main" id="{8520E2C6-3A2E-4D78-BEBF-7BFF53FAEBBC}"/>
              </a:ext>
            </a:extLst>
          </p:cNvPr>
          <p:cNvSpPr>
            <a:spLocks/>
          </p:cNvSpPr>
          <p:nvPr/>
        </p:nvSpPr>
        <p:spPr bwMode="auto">
          <a:xfrm>
            <a:off x="433016" y="5968465"/>
            <a:ext cx="235567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546100" indent="-533400" algn="just">
              <a:lnSpc>
                <a:spcPct val="90000"/>
              </a:lnSpc>
              <a:spcBef>
                <a:spcPts val="100"/>
              </a:spcBef>
              <a:buFont typeface="Arial" charset="0"/>
              <a:buNone/>
            </a:pPr>
            <a:r>
              <a:rPr lang="ru-RU" sz="1200" b="1" dirty="0" smtClean="0">
                <a:solidFill>
                  <a:srgbClr val="193F61"/>
                </a:solidFill>
                <a:latin typeface="Times New Roman" pitchFamily="18" charset="0"/>
                <a:cs typeface="Times New Roman" pitchFamily="18" charset="0"/>
              </a:rPr>
              <a:t>Закрыть двери и окна</a:t>
            </a:r>
            <a:endParaRPr lang="ru-RU" sz="1200" b="1" dirty="0">
              <a:solidFill>
                <a:srgbClr val="193F6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C97AEB70-9EA9-4C57-BE5C-E52F6A8FDC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708ECF60-A420-4D5F-A982-55BD96D8DA40}"/>
              </a:ext>
            </a:extLst>
          </p:cNvPr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26" name="Picture 2">
            <a:extLst>
              <a:ext uri="{FF2B5EF4-FFF2-40B4-BE49-F238E27FC236}">
                <a16:creationId xmlns:a16="http://schemas.microsoft.com/office/drawing/2014/main" id="{25C2AB8E-0282-4FE1-AE9C-E817C65D84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BE10DFFA-228E-4B8F-9ED3-026F59A047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844" y="767536"/>
            <a:ext cx="8840644" cy="634082"/>
          </a:xfrm>
        </p:spPr>
        <p:txBody>
          <a:bodyPr>
            <a:normAutofit fontScale="90000"/>
          </a:bodyPr>
          <a:lstStyle/>
          <a:p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ндарт процесса </a:t>
            </a:r>
            <a:br>
              <a:rPr lang="ru-RU" sz="2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2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эвакуации детей и сотрудников </a:t>
            </a:r>
            <a:r>
              <a:rPr lang="ru-RU" sz="2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БДОУ </a:t>
            </a:r>
            <a:r>
              <a:rPr lang="ru-RU" sz="22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ДС №23» при срабатывании АПС</a:t>
            </a:r>
            <a:r>
              <a:rPr lang="ru-RU" sz="27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br>
              <a:rPr lang="ru-RU" sz="27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4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Стрелка: вниз 26">
            <a:extLst>
              <a:ext uri="{FF2B5EF4-FFF2-40B4-BE49-F238E27FC236}">
                <a16:creationId xmlns:a16="http://schemas.microsoft.com/office/drawing/2014/main" id="{CDC8EC71-4E0C-42CD-A90D-C75F31F5D7F0}"/>
              </a:ext>
            </a:extLst>
          </p:cNvPr>
          <p:cNvSpPr/>
          <p:nvPr/>
        </p:nvSpPr>
        <p:spPr>
          <a:xfrm rot="16200000">
            <a:off x="3847936" y="4667458"/>
            <a:ext cx="484632" cy="781140"/>
          </a:xfrm>
          <a:prstGeom prst="downArrow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трелка: вниз 28">
            <a:extLst>
              <a:ext uri="{FF2B5EF4-FFF2-40B4-BE49-F238E27FC236}">
                <a16:creationId xmlns:a16="http://schemas.microsoft.com/office/drawing/2014/main" id="{38027A5E-D40B-4C57-81E0-5FAC1D5CD31C}"/>
              </a:ext>
            </a:extLst>
          </p:cNvPr>
          <p:cNvSpPr/>
          <p:nvPr/>
        </p:nvSpPr>
        <p:spPr>
          <a:xfrm rot="16200000">
            <a:off x="6000485" y="4182825"/>
            <a:ext cx="484632" cy="781140"/>
          </a:xfrm>
          <a:prstGeom prst="downArrow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2" name="Группа 21"/>
          <p:cNvGrpSpPr/>
          <p:nvPr/>
        </p:nvGrpSpPr>
        <p:grpSpPr>
          <a:xfrm>
            <a:off x="215332" y="1592040"/>
            <a:ext cx="2330821" cy="1753722"/>
            <a:chOff x="0" y="0"/>
            <a:chExt cx="3867150" cy="1839280"/>
          </a:xfrm>
        </p:grpSpPr>
        <p:pic>
          <p:nvPicPr>
            <p:cNvPr id="30" name="Рисунок 29" descr="Picture background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43075" y="0"/>
              <a:ext cx="2124075" cy="14224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1" name="Выгнутая влево стрелка 30"/>
            <p:cNvSpPr/>
            <p:nvPr/>
          </p:nvSpPr>
          <p:spPr>
            <a:xfrm rot="16200000">
              <a:off x="1462087" y="1100138"/>
              <a:ext cx="521019" cy="957265"/>
            </a:xfrm>
            <a:prstGeom prst="curvedRightArrow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pic>
          <p:nvPicPr>
            <p:cNvPr id="32" name="Рисунок 31" descr="Picture background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8100"/>
              <a:ext cx="1303655" cy="123761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" name="Стрелка: вверх 13">
            <a:extLst>
              <a:ext uri="{FF2B5EF4-FFF2-40B4-BE49-F238E27FC236}">
                <a16:creationId xmlns:a16="http://schemas.microsoft.com/office/drawing/2014/main" id="{866ECA75-1974-466E-A76F-CFC23C641FEF}"/>
              </a:ext>
            </a:extLst>
          </p:cNvPr>
          <p:cNvSpPr/>
          <p:nvPr/>
        </p:nvSpPr>
        <p:spPr>
          <a:xfrm>
            <a:off x="8042702" y="3148420"/>
            <a:ext cx="484632" cy="932609"/>
          </a:xfrm>
          <a:prstGeom prst="upArrow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5" name="Группа 44"/>
          <p:cNvGrpSpPr/>
          <p:nvPr/>
        </p:nvGrpSpPr>
        <p:grpSpPr>
          <a:xfrm>
            <a:off x="6492370" y="1721410"/>
            <a:ext cx="1961798" cy="1441723"/>
            <a:chOff x="0" y="0"/>
            <a:chExt cx="2895600" cy="2714625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2895600" cy="216090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7" name="Овал 46"/>
            <p:cNvSpPr/>
            <p:nvPr/>
          </p:nvSpPr>
          <p:spPr>
            <a:xfrm>
              <a:off x="1447800" y="2095500"/>
              <a:ext cx="752475" cy="619125"/>
            </a:xfrm>
            <a:prstGeom prst="ellipse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ru-RU" sz="1100">
                  <a:effectLst/>
                  <a:ea typeface="Calibri" panose="020F0502020204030204" pitchFamily="34" charset="0"/>
                  <a:cs typeface="Times New Roman" panose="02020603050405020304" pitchFamily="18" charset="0"/>
                </a:rPr>
                <a:t>ДС 42</a:t>
              </a:r>
            </a:p>
          </p:txBody>
        </p:sp>
      </p:grpSp>
      <p:grpSp>
        <p:nvGrpSpPr>
          <p:cNvPr id="41" name="Группа 40"/>
          <p:cNvGrpSpPr/>
          <p:nvPr/>
        </p:nvGrpSpPr>
        <p:grpSpPr>
          <a:xfrm>
            <a:off x="59922" y="4192987"/>
            <a:ext cx="3555721" cy="1289533"/>
            <a:chOff x="0" y="0"/>
            <a:chExt cx="3903345" cy="1334135"/>
          </a:xfrm>
        </p:grpSpPr>
        <p:pic>
          <p:nvPicPr>
            <p:cNvPr id="51" name="Рисунок 5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9525"/>
              <a:ext cx="838200" cy="132461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2" name="Крест 51"/>
            <p:cNvSpPr/>
            <p:nvPr/>
          </p:nvSpPr>
          <p:spPr>
            <a:xfrm>
              <a:off x="923925" y="371475"/>
              <a:ext cx="409575" cy="409575"/>
            </a:xfrm>
            <a:prstGeom prst="plus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pic>
          <p:nvPicPr>
            <p:cNvPr id="53" name="Рисунок 52" descr="Picture background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95425" y="0"/>
              <a:ext cx="2407920" cy="129413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54" name="Группа 53"/>
          <p:cNvGrpSpPr/>
          <p:nvPr/>
        </p:nvGrpSpPr>
        <p:grpSpPr>
          <a:xfrm>
            <a:off x="4531009" y="4263887"/>
            <a:ext cx="1548890" cy="1588279"/>
            <a:chOff x="0" y="0"/>
            <a:chExt cx="1939290" cy="1866900"/>
          </a:xfrm>
        </p:grpSpPr>
        <p:pic>
          <p:nvPicPr>
            <p:cNvPr id="55" name="Рисунок 54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803910" cy="18669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6" name="Рисунок 55" descr="Picture background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1975" y="657225"/>
              <a:ext cx="1377315" cy="98996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7" name="Рисунок 56" descr="Picture background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6775" y="66675"/>
              <a:ext cx="523875" cy="52387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58" name="Группа 57"/>
          <p:cNvGrpSpPr/>
          <p:nvPr/>
        </p:nvGrpSpPr>
        <p:grpSpPr>
          <a:xfrm>
            <a:off x="6320855" y="4358196"/>
            <a:ext cx="2559764" cy="1690776"/>
            <a:chOff x="0" y="0"/>
            <a:chExt cx="3984625" cy="1895475"/>
          </a:xfrm>
        </p:grpSpPr>
        <p:pic>
          <p:nvPicPr>
            <p:cNvPr id="59" name="Рисунок 58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09800" y="0"/>
              <a:ext cx="1774825" cy="79946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0" name="Рисунок 59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0" y="504825"/>
              <a:ext cx="2152650" cy="139065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7014323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DB4BCE5-C890-4D1E-9F18-8F0E05A14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90687" y="6360982"/>
            <a:ext cx="2133600" cy="365125"/>
          </a:xfrm>
        </p:spPr>
        <p:txBody>
          <a:bodyPr/>
          <a:lstStyle/>
          <a:p>
            <a:fld id="{C33C34FD-A43B-634A-9B8C-9626670F7CE8}" type="slidenum">
              <a:rPr lang="en-US" smtClean="0"/>
              <a:t>15</a:t>
            </a:fld>
            <a:endParaRPr lang="en-US" dirty="0"/>
          </a:p>
        </p:txBody>
      </p:sp>
      <p:sp>
        <p:nvSpPr>
          <p:cNvPr id="11" name="Стрелка: вниз 10">
            <a:extLst>
              <a:ext uri="{FF2B5EF4-FFF2-40B4-BE49-F238E27FC236}">
                <a16:creationId xmlns:a16="http://schemas.microsoft.com/office/drawing/2014/main" id="{C302F457-5E7F-41D4-B725-3E2A6E398EBC}"/>
              </a:ext>
            </a:extLst>
          </p:cNvPr>
          <p:cNvSpPr/>
          <p:nvPr/>
        </p:nvSpPr>
        <p:spPr>
          <a:xfrm>
            <a:off x="869001" y="2936654"/>
            <a:ext cx="484632" cy="978408"/>
          </a:xfrm>
          <a:prstGeom prst="downArrow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одзаголовок 8">
            <a:extLst>
              <a:ext uri="{FF2B5EF4-FFF2-40B4-BE49-F238E27FC236}">
                <a16:creationId xmlns:a16="http://schemas.microsoft.com/office/drawing/2014/main" id="{97D22034-4C4E-4EB6-AF86-C84C633C2DB0}"/>
              </a:ext>
            </a:extLst>
          </p:cNvPr>
          <p:cNvSpPr>
            <a:spLocks/>
          </p:cNvSpPr>
          <p:nvPr/>
        </p:nvSpPr>
        <p:spPr bwMode="auto">
          <a:xfrm>
            <a:off x="3190646" y="5987506"/>
            <a:ext cx="2412274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>
              <a:lnSpc>
                <a:spcPct val="90000"/>
              </a:lnSpc>
              <a:spcBef>
                <a:spcPts val="100"/>
              </a:spcBef>
              <a:buFont typeface="Arial" charset="0"/>
              <a:buNone/>
            </a:pPr>
            <a:r>
              <a:rPr lang="ru-RU" sz="1200" b="1" dirty="0" smtClean="0">
                <a:solidFill>
                  <a:srgbClr val="193F61"/>
                </a:solidFill>
                <a:latin typeface="Times New Roman" pitchFamily="18" charset="0"/>
                <a:cs typeface="Times New Roman" pitchFamily="18" charset="0"/>
              </a:rPr>
              <a:t>Внимательно выслушать инструкции воспитателя</a:t>
            </a:r>
            <a:endParaRPr lang="ru-RU" sz="1200" b="1" dirty="0">
              <a:solidFill>
                <a:srgbClr val="193F6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Подзаголовок 8">
            <a:extLst>
              <a:ext uri="{FF2B5EF4-FFF2-40B4-BE49-F238E27FC236}">
                <a16:creationId xmlns:a16="http://schemas.microsoft.com/office/drawing/2014/main" id="{A43E56DC-0466-41D7-B6CE-7E53F06EBD69}"/>
              </a:ext>
            </a:extLst>
          </p:cNvPr>
          <p:cNvSpPr>
            <a:spLocks/>
          </p:cNvSpPr>
          <p:nvPr/>
        </p:nvSpPr>
        <p:spPr bwMode="auto">
          <a:xfrm>
            <a:off x="6142205" y="6010774"/>
            <a:ext cx="2538756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indent="12700" algn="just">
              <a:lnSpc>
                <a:spcPct val="90000"/>
              </a:lnSpc>
              <a:spcBef>
                <a:spcPts val="100"/>
              </a:spcBef>
              <a:buFont typeface="Arial" charset="0"/>
              <a:buNone/>
            </a:pPr>
            <a:r>
              <a:rPr lang="ru-RU" sz="1200" b="1" dirty="0" smtClean="0">
                <a:solidFill>
                  <a:srgbClr val="193F61"/>
                </a:solidFill>
                <a:latin typeface="Times New Roman" pitchFamily="18" charset="0"/>
                <a:cs typeface="Times New Roman" pitchFamily="18" charset="0"/>
              </a:rPr>
              <a:t> Приступить к эвакуации</a:t>
            </a:r>
            <a:endParaRPr lang="ru-RU" sz="1200" b="1" dirty="0">
              <a:solidFill>
                <a:srgbClr val="193F6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Подзаголовок 8">
            <a:extLst>
              <a:ext uri="{FF2B5EF4-FFF2-40B4-BE49-F238E27FC236}">
                <a16:creationId xmlns:a16="http://schemas.microsoft.com/office/drawing/2014/main" id="{09548145-737E-4DE1-A226-0AC20569DBD7}"/>
              </a:ext>
            </a:extLst>
          </p:cNvPr>
          <p:cNvSpPr>
            <a:spLocks/>
          </p:cNvSpPr>
          <p:nvPr/>
        </p:nvSpPr>
        <p:spPr bwMode="auto">
          <a:xfrm>
            <a:off x="1562085" y="2948274"/>
            <a:ext cx="2555322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indent="12700" algn="just">
              <a:lnSpc>
                <a:spcPct val="90000"/>
              </a:lnSpc>
              <a:spcBef>
                <a:spcPts val="100"/>
              </a:spcBef>
              <a:buFont typeface="Arial" charset="0"/>
              <a:buNone/>
            </a:pPr>
            <a:r>
              <a:rPr lang="ru-RU" sz="1200" b="1" dirty="0" smtClean="0">
                <a:solidFill>
                  <a:srgbClr val="193F61"/>
                </a:solidFill>
                <a:latin typeface="Times New Roman" pitchFamily="18" charset="0"/>
                <a:cs typeface="Times New Roman" pitchFamily="18" charset="0"/>
              </a:rPr>
              <a:t>Получили тревожный сигнал</a:t>
            </a:r>
            <a:endParaRPr lang="ru-RU" sz="1200" b="1" dirty="0">
              <a:solidFill>
                <a:srgbClr val="193F6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Подзаголовок 8">
            <a:extLst>
              <a:ext uri="{FF2B5EF4-FFF2-40B4-BE49-F238E27FC236}">
                <a16:creationId xmlns:a16="http://schemas.microsoft.com/office/drawing/2014/main" id="{6C1A7CEA-79E7-4C37-9F2D-2381A1712774}"/>
              </a:ext>
            </a:extLst>
          </p:cNvPr>
          <p:cNvSpPr>
            <a:spLocks/>
          </p:cNvSpPr>
          <p:nvPr/>
        </p:nvSpPr>
        <p:spPr bwMode="auto">
          <a:xfrm>
            <a:off x="4422892" y="2271160"/>
            <a:ext cx="2145150" cy="3443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546100" indent="-533400" algn="just">
              <a:lnSpc>
                <a:spcPct val="90000"/>
              </a:lnSpc>
              <a:spcBef>
                <a:spcPts val="100"/>
              </a:spcBef>
              <a:buFont typeface="Arial" charset="0"/>
              <a:buNone/>
            </a:pPr>
            <a:r>
              <a:rPr lang="ru-RU" sz="1200" b="1" dirty="0" smtClean="0">
                <a:solidFill>
                  <a:srgbClr val="193F61"/>
                </a:solidFill>
                <a:latin typeface="Times New Roman" pitchFamily="18" charset="0"/>
                <a:cs typeface="Times New Roman" pitchFamily="18" charset="0"/>
              </a:rPr>
              <a:t>Построиться в месте сбора.</a:t>
            </a:r>
            <a:endParaRPr lang="ru-RU" sz="1200" b="1" dirty="0">
              <a:solidFill>
                <a:srgbClr val="193F6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Подзаголовок 8">
            <a:extLst>
              <a:ext uri="{FF2B5EF4-FFF2-40B4-BE49-F238E27FC236}">
                <a16:creationId xmlns:a16="http://schemas.microsoft.com/office/drawing/2014/main" id="{8520E2C6-3A2E-4D78-BEBF-7BFF53FAEBBC}"/>
              </a:ext>
            </a:extLst>
          </p:cNvPr>
          <p:cNvSpPr>
            <a:spLocks/>
          </p:cNvSpPr>
          <p:nvPr/>
        </p:nvSpPr>
        <p:spPr bwMode="auto">
          <a:xfrm>
            <a:off x="484076" y="6016685"/>
            <a:ext cx="235567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546100" indent="-533400" algn="just">
              <a:lnSpc>
                <a:spcPct val="90000"/>
              </a:lnSpc>
              <a:spcBef>
                <a:spcPts val="100"/>
              </a:spcBef>
              <a:buFont typeface="Arial" charset="0"/>
              <a:buNone/>
            </a:pPr>
            <a:r>
              <a:rPr lang="ru-RU" sz="1200" b="1" dirty="0" smtClean="0">
                <a:solidFill>
                  <a:srgbClr val="193F61"/>
                </a:solidFill>
                <a:latin typeface="Times New Roman" pitchFamily="18" charset="0"/>
                <a:cs typeface="Times New Roman" pitchFamily="18" charset="0"/>
              </a:rPr>
              <a:t>Подойти к воспитателю</a:t>
            </a:r>
            <a:endParaRPr lang="ru-RU" sz="1200" b="1" dirty="0">
              <a:solidFill>
                <a:srgbClr val="193F6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C97AEB70-9EA9-4C57-BE5C-E52F6A8FDC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708ECF60-A420-4D5F-A982-55BD96D8DA40}"/>
              </a:ext>
            </a:extLst>
          </p:cNvPr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26" name="Picture 2">
            <a:extLst>
              <a:ext uri="{FF2B5EF4-FFF2-40B4-BE49-F238E27FC236}">
                <a16:creationId xmlns:a16="http://schemas.microsoft.com/office/drawing/2014/main" id="{25C2AB8E-0282-4FE1-AE9C-E817C65D84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BE10DFFA-228E-4B8F-9ED3-026F59A047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844" y="767536"/>
            <a:ext cx="8840644" cy="634082"/>
          </a:xfrm>
        </p:spPr>
        <p:txBody>
          <a:bodyPr>
            <a:normAutofit fontScale="90000"/>
          </a:bodyPr>
          <a:lstStyle/>
          <a:p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ндарт процесса </a:t>
            </a:r>
            <a:br>
              <a:rPr lang="ru-RU" sz="2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22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эвакуации детей и сотрудников </a:t>
            </a:r>
            <a:r>
              <a:rPr lang="ru-RU" sz="2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БДОУ </a:t>
            </a:r>
            <a:r>
              <a:rPr lang="ru-RU" sz="22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ДС №23» при срабатывании АПС</a:t>
            </a:r>
            <a:r>
              <a:rPr lang="ru-RU" sz="27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br>
              <a:rPr lang="ru-RU" sz="27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400" b="1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Стрелка: вниз 26">
            <a:extLst>
              <a:ext uri="{FF2B5EF4-FFF2-40B4-BE49-F238E27FC236}">
                <a16:creationId xmlns:a16="http://schemas.microsoft.com/office/drawing/2014/main" id="{CDC8EC71-4E0C-42CD-A90D-C75F31F5D7F0}"/>
              </a:ext>
            </a:extLst>
          </p:cNvPr>
          <p:cNvSpPr/>
          <p:nvPr/>
        </p:nvSpPr>
        <p:spPr>
          <a:xfrm rot="16200000">
            <a:off x="2948330" y="4575303"/>
            <a:ext cx="484632" cy="781140"/>
          </a:xfrm>
          <a:prstGeom prst="downArrow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трелка: вниз 28">
            <a:extLst>
              <a:ext uri="{FF2B5EF4-FFF2-40B4-BE49-F238E27FC236}">
                <a16:creationId xmlns:a16="http://schemas.microsoft.com/office/drawing/2014/main" id="{38027A5E-D40B-4C57-81E0-5FAC1D5CD31C}"/>
              </a:ext>
            </a:extLst>
          </p:cNvPr>
          <p:cNvSpPr/>
          <p:nvPr/>
        </p:nvSpPr>
        <p:spPr>
          <a:xfrm rot="16200000">
            <a:off x="5717440" y="4722646"/>
            <a:ext cx="484632" cy="781140"/>
          </a:xfrm>
          <a:prstGeom prst="downArrow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трелка: вверх 13">
            <a:extLst>
              <a:ext uri="{FF2B5EF4-FFF2-40B4-BE49-F238E27FC236}">
                <a16:creationId xmlns:a16="http://schemas.microsoft.com/office/drawing/2014/main" id="{866ECA75-1974-466E-A76F-CFC23C641FEF}"/>
              </a:ext>
            </a:extLst>
          </p:cNvPr>
          <p:cNvSpPr/>
          <p:nvPr/>
        </p:nvSpPr>
        <p:spPr>
          <a:xfrm>
            <a:off x="8042702" y="3148420"/>
            <a:ext cx="484632" cy="932609"/>
          </a:xfrm>
          <a:prstGeom prst="upArrow">
            <a:avLst/>
          </a:prstGeom>
          <a:solidFill>
            <a:srgbClr val="0070C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5" name="Группа 44"/>
          <p:cNvGrpSpPr/>
          <p:nvPr/>
        </p:nvGrpSpPr>
        <p:grpSpPr>
          <a:xfrm>
            <a:off x="6622989" y="1781123"/>
            <a:ext cx="1961798" cy="1441723"/>
            <a:chOff x="0" y="0"/>
            <a:chExt cx="2895600" cy="2714625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2895600" cy="216090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7" name="Овал 46"/>
            <p:cNvSpPr/>
            <p:nvPr/>
          </p:nvSpPr>
          <p:spPr>
            <a:xfrm>
              <a:off x="1447800" y="2095500"/>
              <a:ext cx="752475" cy="619125"/>
            </a:xfrm>
            <a:prstGeom prst="ellipse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ru-RU" sz="1100">
                  <a:effectLst/>
                  <a:ea typeface="Calibri" panose="020F0502020204030204" pitchFamily="34" charset="0"/>
                  <a:cs typeface="Times New Roman" panose="02020603050405020304" pitchFamily="18" charset="0"/>
                </a:rPr>
                <a:t>ДС 42</a:t>
              </a:r>
            </a:p>
          </p:txBody>
        </p:sp>
      </p:grpSp>
      <p:pic>
        <p:nvPicPr>
          <p:cNvPr id="35" name="Рисунок 34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454" y="4249987"/>
            <a:ext cx="2571893" cy="1431773"/>
          </a:xfrm>
          <a:prstGeom prst="rect">
            <a:avLst/>
          </a:prstGeom>
          <a:noFill/>
          <a:ln>
            <a:noFill/>
          </a:ln>
        </p:spPr>
      </p:pic>
      <p:pic>
        <p:nvPicPr>
          <p:cNvPr id="36" name="Рисунок 35" descr="Picture background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654" y="1450231"/>
            <a:ext cx="1717519" cy="1451630"/>
          </a:xfrm>
          <a:prstGeom prst="rect">
            <a:avLst/>
          </a:prstGeom>
          <a:noFill/>
          <a:ln>
            <a:noFill/>
          </a:ln>
        </p:spPr>
      </p:pic>
      <p:pic>
        <p:nvPicPr>
          <p:cNvPr id="37" name="Рисунок 36" descr="Picture background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1216" y="4472628"/>
            <a:ext cx="996833" cy="1239531"/>
          </a:xfrm>
          <a:prstGeom prst="rect">
            <a:avLst/>
          </a:prstGeom>
          <a:noFill/>
          <a:ln>
            <a:noFill/>
          </a:ln>
        </p:spPr>
      </p:pic>
      <p:pic>
        <p:nvPicPr>
          <p:cNvPr id="38" name="Рисунок 37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353" y="4340108"/>
            <a:ext cx="698184" cy="1184680"/>
          </a:xfrm>
          <a:prstGeom prst="rect">
            <a:avLst/>
          </a:prstGeom>
          <a:noFill/>
          <a:ln>
            <a:noFill/>
          </a:ln>
        </p:spPr>
      </p:pic>
      <p:pic>
        <p:nvPicPr>
          <p:cNvPr id="39" name="Рисунок 38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9554" y="4335143"/>
            <a:ext cx="2428668" cy="135520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60087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6</a:t>
            </a:fld>
            <a:endParaRPr lang="ru-RU"/>
          </a:p>
        </p:txBody>
      </p:sp>
      <p:pic>
        <p:nvPicPr>
          <p:cNvPr id="1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B7F9214-65B7-4DA9-8E70-1F7568E6EF8E}"/>
              </a:ext>
            </a:extLst>
          </p:cNvPr>
          <p:cNvSpPr/>
          <p:nvPr/>
        </p:nvSpPr>
        <p:spPr>
          <a:xfrm>
            <a:off x="683568" y="1099765"/>
            <a:ext cx="750134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сылка на сайт ОО (вкладка Бережливое образование)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FDB8E0C-BD3E-44F6-8E70-117F0B963AF4}"/>
              </a:ext>
            </a:extLst>
          </p:cNvPr>
          <p:cNvSpPr/>
          <p:nvPr/>
        </p:nvSpPr>
        <p:spPr>
          <a:xfrm>
            <a:off x="784960" y="1617229"/>
            <a:ext cx="7223644" cy="4001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http://mdou23cheb.ucoz.net/index/berezhlivoe_obrazovanie/0-81</a:t>
            </a:r>
            <a:endParaRPr lang="ru-RU" sz="20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7995" y="2200995"/>
            <a:ext cx="8177575" cy="4599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902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794762" y="-567032"/>
            <a:ext cx="5708836" cy="8075240"/>
          </a:xfrm>
          <a:prstGeom prst="rect">
            <a:avLst/>
          </a:prstGeom>
        </p:spPr>
      </p:pic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D8E1C705-14D6-41FD-9035-1DBB5D4D54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/>
          <p:cNvSpPr/>
          <p:nvPr/>
        </p:nvSpPr>
        <p:spPr>
          <a:xfrm>
            <a:off x="928829" y="2046745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5379" name="TextBox 48"/>
          <p:cNvSpPr txBox="1">
            <a:spLocks noChangeArrowheads="1"/>
          </p:cNvSpPr>
          <p:nvPr/>
        </p:nvSpPr>
        <p:spPr bwMode="auto">
          <a:xfrm>
            <a:off x="123844" y="6456123"/>
            <a:ext cx="460851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– 6 </a:t>
            </a:r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ин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. 40 сек. </a:t>
            </a:r>
            <a:endParaRPr lang="ru-RU" sz="16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7212283"/>
              </p:ext>
            </p:extLst>
          </p:nvPr>
        </p:nvGraphicFramePr>
        <p:xfrm>
          <a:off x="431589" y="2491033"/>
          <a:ext cx="1751856" cy="1280495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9895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ети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 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лучение информации о причине срабатывания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АПС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0 сек.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628869"/>
              </p:ext>
            </p:extLst>
          </p:nvPr>
        </p:nvGraphicFramePr>
        <p:xfrm>
          <a:off x="3746687" y="4486772"/>
          <a:ext cx="4978605" cy="196593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9786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336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. Временные</a:t>
                      </a:r>
                      <a:r>
                        <a:rPr lang="ru-RU" altLang="ru-RU" sz="11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затраты педагога, связанные с длительным процессом сбора воспитанников для проведения тренировочной эвакуации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36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Временные затраты педагога, связанные со сбором необходимой документации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36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Временные затраты, связанные с лишними движениями сотрудников ДОУ при эвакуации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36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Временные затраты, связанные с длительным процессом построения воспитанников в месте сбора, доклад педагога. 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255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106772" y="2450229"/>
            <a:ext cx="231794" cy="1373335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2697663" y="4439115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15406" name="Прямоугольник 54"/>
          <p:cNvSpPr>
            <a:spLocks noChangeArrowheads="1"/>
          </p:cNvSpPr>
          <p:nvPr/>
        </p:nvSpPr>
        <p:spPr bwMode="auto">
          <a:xfrm>
            <a:off x="4664786" y="4154113"/>
            <a:ext cx="3457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:</a:t>
            </a:r>
          </a:p>
        </p:txBody>
      </p:sp>
      <p:sp>
        <p:nvSpPr>
          <p:cNvPr id="70" name="Пятно 1 60"/>
          <p:cNvSpPr/>
          <p:nvPr/>
        </p:nvSpPr>
        <p:spPr>
          <a:xfrm>
            <a:off x="4259491" y="1885004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84" name="Пятно 1 60"/>
          <p:cNvSpPr/>
          <p:nvPr/>
        </p:nvSpPr>
        <p:spPr>
          <a:xfrm>
            <a:off x="8320881" y="1902282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104" name="Пятно 1 60"/>
          <p:cNvSpPr/>
          <p:nvPr/>
        </p:nvSpPr>
        <p:spPr>
          <a:xfrm>
            <a:off x="6520476" y="1936734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436479" y="747095"/>
            <a:ext cx="8251773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Times New Roman" pitchFamily="18" charset="0"/>
                <a:cs typeface="Times New Roman" pitchFamily="18" charset="0"/>
              </a:rPr>
              <a:t>Карта текущего состояния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процесса</a:t>
            </a:r>
          </a:p>
          <a:p>
            <a:pPr algn="ctr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эвакуации детей и сотрудников МБДОУ «ДС №23»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 срабатывании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ПС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  <a:p>
            <a:pPr algn="ctr"/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4702398"/>
              </p:ext>
            </p:extLst>
          </p:nvPr>
        </p:nvGraphicFramePr>
        <p:xfrm>
          <a:off x="2650083" y="2518408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ети и 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бор детей около воспитателя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0" name="Таблица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0945151"/>
              </p:ext>
            </p:extLst>
          </p:nvPr>
        </p:nvGraphicFramePr>
        <p:xfrm>
          <a:off x="4859338" y="2539810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трудники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бор необходимой документации педагога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1" name="Таблица 10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8841520"/>
              </p:ext>
            </p:extLst>
          </p:nvPr>
        </p:nvGraphicFramePr>
        <p:xfrm>
          <a:off x="7150677" y="2522058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ети и 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Эвакуация детей и взрослых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3" name="Таблица 1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5686162"/>
              </p:ext>
            </p:extLst>
          </p:nvPr>
        </p:nvGraphicFramePr>
        <p:xfrm>
          <a:off x="792312" y="4655680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ети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 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строение в месте сбора,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доклад.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0" name="Прямоугольник 109"/>
          <p:cNvSpPr/>
          <p:nvPr/>
        </p:nvSpPr>
        <p:spPr>
          <a:xfrm>
            <a:off x="3207202" y="2046746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5437801" y="201845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7511037" y="1966945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4</a:t>
            </a:r>
            <a:r>
              <a:rPr lang="ru-RU" sz="1200" b="1" dirty="0"/>
              <a:t> </a:t>
            </a:r>
          </a:p>
        </p:txBody>
      </p:sp>
      <p:sp>
        <p:nvSpPr>
          <p:cNvPr id="113" name="Прямоугольник 112"/>
          <p:cNvSpPr/>
          <p:nvPr/>
        </p:nvSpPr>
        <p:spPr>
          <a:xfrm>
            <a:off x="1250297" y="4216423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5</a:t>
            </a:r>
            <a:r>
              <a:rPr lang="ru-RU" sz="1200" b="1" dirty="0"/>
              <a:t> </a:t>
            </a:r>
          </a:p>
        </p:txBody>
      </p:sp>
      <p:sp>
        <p:nvSpPr>
          <p:cNvPr id="119" name="Стрелка вправо 118"/>
          <p:cNvSpPr/>
          <p:nvPr/>
        </p:nvSpPr>
        <p:spPr>
          <a:xfrm>
            <a:off x="4472126" y="2852357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0" name="Стрелка вправо 119"/>
          <p:cNvSpPr/>
          <p:nvPr/>
        </p:nvSpPr>
        <p:spPr>
          <a:xfrm>
            <a:off x="6655784" y="2904247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1" name="Стрелка вправо 120"/>
          <p:cNvSpPr/>
          <p:nvPr/>
        </p:nvSpPr>
        <p:spPr>
          <a:xfrm>
            <a:off x="2225454" y="2852357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Стрелка вправо 43"/>
          <p:cNvSpPr/>
          <p:nvPr/>
        </p:nvSpPr>
        <p:spPr>
          <a:xfrm>
            <a:off x="229587" y="5006593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5" name="Пятно 1 60"/>
          <p:cNvSpPr/>
          <p:nvPr/>
        </p:nvSpPr>
        <p:spPr>
          <a:xfrm>
            <a:off x="106772" y="4192909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4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2552752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/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803663" y="1396386"/>
            <a:ext cx="3769515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федеральном уровне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836830" y="2618192"/>
            <a:ext cx="3746698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региональном уровне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624437" y="3784394"/>
            <a:ext cx="4196035" cy="2226684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alt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ременные затраты педагога, связанные с длительным процессом сбора воспитанников для проведения тренировочной эвакуации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alt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ременные затраты педагога, связанные со сбором необходимой </a:t>
            </a:r>
            <a:r>
              <a:rPr lang="ru-RU" alt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кументации педагога.</a:t>
            </a:r>
          </a:p>
          <a:p>
            <a:pPr algn="just">
              <a:defRPr/>
            </a:pP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alt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ременные затраты, связанные с лишними движениями сотрудников ДОУ при эвакуации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 </a:t>
            </a:r>
            <a:r>
              <a:rPr lang="ru-RU" alt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Временные затраты, связанные с длительным процессом построения воспитанников в месте сбора, доклад педагога.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000100" y="5506251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812206" y="55062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707062" y="5543559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79780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1280975" y="47971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1" name="Пятно 1 60"/>
          <p:cNvSpPr/>
          <p:nvPr/>
        </p:nvSpPr>
        <p:spPr>
          <a:xfrm>
            <a:off x="2707062" y="4836305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464587547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27287285"/>
              </p:ext>
            </p:extLst>
          </p:nvPr>
        </p:nvGraphicFramePr>
        <p:xfrm>
          <a:off x="123845" y="1024381"/>
          <a:ext cx="8833888" cy="57001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833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16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9446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641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кономия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ремени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alt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ременные затраты педагога, связанные с длительным процессом сбора воспитанников для проведения тренировочной эвакуации</a:t>
                      </a: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ти бегут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за вещами в раздевалку. Боятся громкого звука АПС.</a:t>
                      </a:r>
                    </a:p>
                    <a:p>
                      <a:pPr algn="just"/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овали при инструктаже.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визуализированного алгоритма эвакуации, доступного пониманию детей разного возраста.</a:t>
                      </a:r>
                    </a:p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означить место сбора и нанести разметку путей эвакуации в каждой возрастной группе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– 40 сек.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ременные затраты педагога, связанные со сбором необходимой документации педагога.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 не ориентируется в документах, нет систематизации.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ркировка необходимой документации,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лки для неё, обусловленным знаком.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kumimoji="0" lang="ru-RU" altLang="ru-RU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мин</a:t>
                      </a:r>
                      <a:r>
                        <a:rPr kumimoji="0" lang="ru-RU" altLang="ru-RU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– 40 сек.</a:t>
                      </a:r>
                      <a:endParaRPr kumimoji="0" lang="ru-RU" altLang="ru-RU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ременные затраты, связанные с лишними движениями сотрудников ДОУ при эвакуации</a:t>
                      </a:r>
                      <a:endParaRPr lang="ru-RU" sz="14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/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согласованные действия сотрудников.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визуализированного алгоритма эвакуации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сотрудников ДОУ.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-1 мин</a:t>
                      </a:r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ременные затраты, связанные с длительным процессом построения воспитанников в месте сбора, доклад педагога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согласованные действия сотрудников.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овали при инструктаже как дети, так и сотрудники.</a:t>
                      </a:r>
                      <a:endParaRPr lang="ru-RU" sz="1400" b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визуализированного алгоритма эвакуации, доступного пониманию детей разного возраста.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визуализированного алгоритма эвакуации для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отрудников ДОУ.</a:t>
                      </a:r>
                      <a:endParaRPr lang="ru-RU" sz="1400" b="1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-</a:t>
                      </a:r>
                      <a:r>
                        <a:rPr lang="ru-RU" sz="14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</a:t>
                      </a: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.</a:t>
                      </a: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30070" y="524614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429" y="33705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17133" y="66112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</p:spTree>
    <p:extLst>
      <p:ext uri="{BB962C8B-B14F-4D97-AF65-F5344CB8AC3E}">
        <p14:creationId xmlns:p14="http://schemas.microsoft.com/office/powerpoint/2010/main" val="1742491624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970D5C5-FB1B-4607-B94D-242D9579A68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8446" name="TextBox 48"/>
          <p:cNvSpPr txBox="1">
            <a:spLocks noChangeArrowheads="1"/>
          </p:cNvSpPr>
          <p:nvPr/>
        </p:nvSpPr>
        <p:spPr bwMode="auto">
          <a:xfrm>
            <a:off x="10890" y="6069520"/>
            <a:ext cx="47148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я протекания процесса – </a:t>
            </a:r>
            <a:r>
              <a:rPr lang="ru-RU" sz="1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мин 50 сек</a:t>
            </a:r>
            <a:r>
              <a:rPr lang="ru-RU" sz="1600" b="1" dirty="0" smtClean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ru-RU" sz="1600" b="1" dirty="0">
              <a:solidFill>
                <a:srgbClr val="00B0F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2397795" y="4129367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188245" y="2471272"/>
            <a:ext cx="251520" cy="1224136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pic>
        <p:nvPicPr>
          <p:cNvPr id="2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842" y="644777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5"/>
          <p:cNvSpPr>
            <a:spLocks noChangeArrowheads="1"/>
          </p:cNvSpPr>
          <p:nvPr/>
        </p:nvSpPr>
        <p:spPr bwMode="auto">
          <a:xfrm>
            <a:off x="-29854" y="822551"/>
            <a:ext cx="8893621" cy="1046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Карта целевого состояния процесса </a:t>
            </a:r>
            <a:endParaRPr lang="ru-RU" sz="24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эвакуации детей и сотрудников МБДОУ «ДС №23» при срабатывании АПС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043608" y="2000249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2397976" y="2924944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7" name="Стрелка вправо 36"/>
          <p:cNvSpPr/>
          <p:nvPr/>
        </p:nvSpPr>
        <p:spPr>
          <a:xfrm>
            <a:off x="5807015" y="2856560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9" name="Стрелка вправо 38"/>
          <p:cNvSpPr/>
          <p:nvPr/>
        </p:nvSpPr>
        <p:spPr>
          <a:xfrm>
            <a:off x="8428037" y="2794761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3933468" y="198995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7007292" y="1966761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022946" y="398561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4</a:t>
            </a:r>
            <a:r>
              <a:rPr lang="ru-RU" sz="1200" b="1" dirty="0"/>
              <a:t> </a:t>
            </a:r>
          </a:p>
        </p:txBody>
      </p:sp>
      <p:sp>
        <p:nvSpPr>
          <p:cNvPr id="45" name="Облако 44">
            <a:extLst>
              <a:ext uri="{FF2B5EF4-FFF2-40B4-BE49-F238E27FC236}">
                <a16:creationId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4914949" y="2036274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1</a:t>
            </a:r>
          </a:p>
        </p:txBody>
      </p:sp>
      <p:sp>
        <p:nvSpPr>
          <p:cNvPr id="46" name="Облако 45">
            <a:extLst>
              <a:ext uri="{FF2B5EF4-FFF2-40B4-BE49-F238E27FC236}">
                <a16:creationId xmlns:a16="http://schemas.microsoft.com/office/drawing/2014/main" id="{E460C5E6-5047-4C75-8C7B-4DE90D77B07D}"/>
              </a:ext>
            </a:extLst>
          </p:cNvPr>
          <p:cNvSpPr/>
          <p:nvPr/>
        </p:nvSpPr>
        <p:spPr>
          <a:xfrm>
            <a:off x="5823038" y="2003466"/>
            <a:ext cx="674770" cy="318720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2</a:t>
            </a:r>
          </a:p>
        </p:txBody>
      </p:sp>
      <p:sp>
        <p:nvSpPr>
          <p:cNvPr id="47" name="Облако 46">
            <a:extLst>
              <a:ext uri="{FF2B5EF4-FFF2-40B4-BE49-F238E27FC236}">
                <a16:creationId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5507070" y="2447037"/>
            <a:ext cx="631935" cy="351615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BFCFCEC-6A8A-4879-960C-08B3AEDF6CD5}"/>
              </a:ext>
            </a:extLst>
          </p:cNvPr>
          <p:cNvSpPr txBox="1"/>
          <p:nvPr/>
        </p:nvSpPr>
        <p:spPr>
          <a:xfrm>
            <a:off x="4895129" y="3941657"/>
            <a:ext cx="31602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Предложения по улучшению</a:t>
            </a: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9174709"/>
              </p:ext>
            </p:extLst>
          </p:nvPr>
        </p:nvGraphicFramePr>
        <p:xfrm>
          <a:off x="4090181" y="4360589"/>
          <a:ext cx="4859729" cy="1706856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8597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.</a:t>
                      </a:r>
                      <a:r>
                        <a:rPr lang="ru-RU" altLang="ru-RU" sz="11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1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визуализированного алгоритма эвакуации, доступного пониманию детей разного возраста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1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означить место сбора и нанести разметку путей эвакуации в каждой возрастной группе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1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ркировка необходимой документации,</a:t>
                      </a:r>
                      <a:r>
                        <a:rPr lang="ru-RU" sz="11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лки для неё, обусловленным знаком.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1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визуализированного алгоритма эвакуации</a:t>
                      </a:r>
                      <a:r>
                        <a:rPr lang="ru-RU" sz="11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сотрудников ДОУ.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2" name="Облако 51">
            <a:extLst>
              <a:ext uri="{FF2B5EF4-FFF2-40B4-BE49-F238E27FC236}">
                <a16:creationId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7932264" y="2052573"/>
            <a:ext cx="631935" cy="351615"/>
          </a:xfrm>
          <a:prstGeom prst="cloud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1</a:t>
            </a:r>
          </a:p>
        </p:txBody>
      </p:sp>
      <p:sp>
        <p:nvSpPr>
          <p:cNvPr id="53" name="Облако 52">
            <a:extLst>
              <a:ext uri="{FF2B5EF4-FFF2-40B4-BE49-F238E27FC236}">
                <a16:creationId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8353361" y="2437287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4</a:t>
            </a:r>
          </a:p>
        </p:txBody>
      </p:sp>
      <p:graphicFrame>
        <p:nvGraphicFramePr>
          <p:cNvPr id="48" name="Таблица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6880124"/>
              </p:ext>
            </p:extLst>
          </p:nvPr>
        </p:nvGraphicFramePr>
        <p:xfrm>
          <a:off x="515888" y="2445834"/>
          <a:ext cx="1751856" cy="1280495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9895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ети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 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лучение информации о причине срабатывания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АПС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 сек.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49" name="Таблица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713546"/>
              </p:ext>
            </p:extLst>
          </p:nvPr>
        </p:nvGraphicFramePr>
        <p:xfrm>
          <a:off x="2937377" y="2450628"/>
          <a:ext cx="2515655" cy="126708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5156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ети и 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бор детей около воспитателя, необходимой документации педагога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мин. 20 сек.</a:t>
                      </a:r>
                      <a:endParaRPr lang="ru-RU" sz="100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50" name="Таблица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0702976"/>
              </p:ext>
            </p:extLst>
          </p:nvPr>
        </p:nvGraphicFramePr>
        <p:xfrm>
          <a:off x="6452833" y="2510706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ети и 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Эвакуация детей и взрослых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54" name="Таблица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5304169"/>
              </p:ext>
            </p:extLst>
          </p:nvPr>
        </p:nvGraphicFramePr>
        <p:xfrm>
          <a:off x="468487" y="4438812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ети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 сотрудники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строение в месте сбора,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доклад.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араметры</a:t>
                      </a:r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шага</a:t>
                      </a:r>
                    </a:p>
                    <a:p>
                      <a:pPr algn="ctr"/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2100651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1704" name="Object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7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99183047"/>
              </p:ext>
            </p:extLst>
          </p:nvPr>
        </p:nvGraphicFramePr>
        <p:xfrm>
          <a:off x="131413" y="1307550"/>
          <a:ext cx="8831416" cy="47552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10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194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8150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694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Ответственный</a:t>
                      </a:r>
                      <a:r>
                        <a:rPr lang="ru-RU" sz="1400" baseline="0" dirty="0"/>
                        <a:t> </a:t>
                      </a:r>
                      <a:endParaRPr lang="ru-RU" sz="14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срок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altLang="ru-RU" sz="14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ременные затраты педагога, связанные с длительным процессом сбора воспитанников для проведения тренировочной эвакуации</a:t>
                      </a: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визуализированного алгоритма эвакуации, доступного пониманию детей разного возраста.</a:t>
                      </a:r>
                    </a:p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означить место сбора и нанести разметку путей эвакуации в каждой возрастной группе</a:t>
                      </a:r>
                    </a:p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спитатель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председатель творческой группы педагогов) </a:t>
                      </a:r>
                      <a:r>
                        <a:rPr lang="ru-RU" sz="1400" b="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вистёлка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.Н.</a:t>
                      </a:r>
                    </a:p>
                    <a:p>
                      <a:pPr algn="just"/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седатель Совета родителей ДОУ </a:t>
                      </a:r>
                      <a:r>
                        <a:rPr lang="ru-RU" sz="1400" b="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демидько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.А.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07.04.2025гпо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0.04.2025г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</a:t>
                      </a:r>
                      <a:r>
                        <a:rPr lang="ru-RU" alt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ременные затраты, связанные с лишними движениями сотрудников ДОУ при эвакуации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визуализированного алгоритма эвакуации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ля сотрудников ДОУ.</a:t>
                      </a:r>
                      <a:endParaRPr lang="ru-RU" sz="1400" b="1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ркировка необходимой документации,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лки для неё, обусловленным знаком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м. зав. по АХР</a:t>
                      </a:r>
                    </a:p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авлова Т.Н.</a:t>
                      </a:r>
                    </a:p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рший воспитатель </a:t>
                      </a:r>
                      <a:r>
                        <a:rPr lang="ru-RU" sz="1400" b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зурова</a:t>
                      </a: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Е.Ф.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07.04.2025гпо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0.04.2025г</a:t>
                      </a:r>
                      <a:endParaRPr lang="ru-RU" sz="1400" b="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  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нализ и оценка достижения целевых показателей проекта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м. зав. по АХР</a:t>
                      </a:r>
                    </a:p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авлова Т.Н.</a:t>
                      </a:r>
                    </a:p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рший воспитатель </a:t>
                      </a:r>
                      <a:r>
                        <a:rPr lang="ru-RU" sz="1400" b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зурова</a:t>
                      </a: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Е.Ф.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20.04.2025</a:t>
                      </a:r>
                    </a:p>
                    <a:p>
                      <a:pPr algn="just"/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 27.04.2025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1" y="829723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5976566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Заголовок 1"/>
          <p:cNvSpPr>
            <a:spLocks noGrp="1"/>
          </p:cNvSpPr>
          <p:nvPr>
            <p:ph type="title"/>
          </p:nvPr>
        </p:nvSpPr>
        <p:spPr>
          <a:xfrm>
            <a:off x="483844" y="959978"/>
            <a:ext cx="8229600" cy="49053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2800" b="1" dirty="0">
                <a:solidFill>
                  <a:srgbClr val="0070C0"/>
                </a:solidFill>
              </a:rPr>
              <a:t>Достигнутые результаты (было и стало) </a:t>
            </a:r>
          </a:p>
        </p:txBody>
      </p:sp>
      <p:sp>
        <p:nvSpPr>
          <p:cNvPr id="23555" name="Содержимое 4"/>
          <p:cNvSpPr>
            <a:spLocks noGrp="1"/>
          </p:cNvSpPr>
          <p:nvPr>
            <p:ph idx="1"/>
          </p:nvPr>
        </p:nvSpPr>
        <p:spPr>
          <a:xfrm>
            <a:off x="461606" y="1484784"/>
            <a:ext cx="8229600" cy="461665"/>
          </a:xfrm>
        </p:spPr>
        <p:txBody>
          <a:bodyPr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2400" b="1" dirty="0">
                <a:solidFill>
                  <a:srgbClr val="00B0F0"/>
                </a:solidFill>
              </a:rPr>
              <a:t>Время протекания процесса:</a:t>
            </a:r>
            <a:r>
              <a:rPr lang="en-US" altLang="ru-RU" sz="2400" b="1" dirty="0">
                <a:solidFill>
                  <a:srgbClr val="00B0F0"/>
                </a:solidFill>
                <a:latin typeface="Franklin Gothic Book" pitchFamily="34" charset="0"/>
              </a:rPr>
              <a:t> </a:t>
            </a:r>
            <a:endParaRPr lang="ru-RU" altLang="ru-RU" sz="2400" b="1" dirty="0">
              <a:solidFill>
                <a:srgbClr val="00B0F0"/>
              </a:solidFill>
            </a:endParaRP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8</a:t>
            </a:fld>
            <a:endParaRPr lang="ru-RU" altLang="ru-RU"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3528" y="2420892"/>
            <a:ext cx="3714750" cy="20313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БЫ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  <a:defRPr/>
            </a:pPr>
            <a:r>
              <a:rPr lang="ru-RU" sz="2800" dirty="0">
                <a:solidFill>
                  <a:srgbClr val="2992A7"/>
                </a:solidFill>
                <a:latin typeface="+mn-lt"/>
                <a:cs typeface="Arial" panose="020B0604020202020204" pitchFamily="34" charset="0"/>
              </a:rPr>
              <a:t>   </a:t>
            </a:r>
            <a:r>
              <a:rPr lang="ru-RU" sz="2800" dirty="0" smtClean="0">
                <a:solidFill>
                  <a:srgbClr val="2992A7"/>
                </a:solidFill>
                <a:latin typeface="+mn-lt"/>
                <a:cs typeface="Arial" panose="020B0604020202020204" pitchFamily="34" charset="0"/>
              </a:rPr>
              <a:t>6 мин. 40 сек.</a:t>
            </a:r>
            <a:endParaRPr lang="ru-RU" sz="2800" dirty="0">
              <a:solidFill>
                <a:srgbClr val="2992A7"/>
              </a:solidFill>
              <a:latin typeface="+mn-lt"/>
              <a:cs typeface="Arial" panose="020B0604020202020204" pitchFamily="34" charset="0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sz="2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2800" b="1" dirty="0">
                <a:solidFill>
                  <a:schemeClr val="accent3"/>
                </a:solidFill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355654" y="2342492"/>
            <a:ext cx="3714750" cy="181588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СТА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  <a:defRPr/>
            </a:pPr>
            <a:r>
              <a:rPr lang="ru-RU" sz="2800" dirty="0" smtClean="0">
                <a:solidFill>
                  <a:srgbClr val="0B7B87"/>
                </a:solidFill>
                <a:cs typeface="Arial" panose="020B0604020202020204" pitchFamily="34" charset="0"/>
              </a:rPr>
              <a:t>3 мин. 50 сек.</a:t>
            </a:r>
            <a:endParaRPr lang="ru-RU" sz="2800" dirty="0">
              <a:solidFill>
                <a:srgbClr val="0B7B87"/>
              </a:solidFill>
              <a:latin typeface="+mn-lt"/>
              <a:cs typeface="Arial" panose="020B0604020202020204" pitchFamily="34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en-US" sz="2800" b="1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3559" name="Прямоугольник 23"/>
          <p:cNvSpPr>
            <a:spLocks noChangeArrowheads="1"/>
          </p:cNvSpPr>
          <p:nvPr/>
        </p:nvSpPr>
        <p:spPr bwMode="auto">
          <a:xfrm>
            <a:off x="611560" y="4077072"/>
            <a:ext cx="770485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ЭКОНОМИЯ ВРЕМЕНИ </a:t>
            </a:r>
            <a:r>
              <a:rPr lang="ru-RU" altLang="ru-RU" b="1" dirty="0" smtClean="0">
                <a:solidFill>
                  <a:srgbClr val="002060"/>
                </a:solidFill>
              </a:rPr>
              <a:t>54 %</a:t>
            </a:r>
            <a:endParaRPr lang="ru-RU" altLang="ru-RU" b="1" dirty="0">
              <a:solidFill>
                <a:srgbClr val="002060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rot="5400000">
            <a:off x="3534873" y="2953970"/>
            <a:ext cx="1501379" cy="317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331647" y="3789042"/>
            <a:ext cx="6429375" cy="1191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302938" y="4682708"/>
            <a:ext cx="8383861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СНИЖЕНИЕ ВРЕМЕННЫХ ПОТЕРЬ  ЗА СЧЕТ </a:t>
            </a:r>
            <a:endParaRPr lang="ru-RU" sz="1600" b="1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ки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изуализированного алгоритма эвакуации, доступного пониманию детей разного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озраста и сотрудников ДОУ.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defRPr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означения места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бора и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несения разметки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утей эвакуации в каждой возрастной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руппе. </a:t>
            </a:r>
          </a:p>
          <a:p>
            <a:pPr algn="just">
              <a:defRPr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аркировки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обходимой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ации педагога и полки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я неё, обусловленным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наком.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600" b="1" dirty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 algn="ctr">
              <a:defRPr/>
            </a:pPr>
            <a:endParaRPr lang="ru-RU" sz="1600" b="1" dirty="0">
              <a:solidFill>
                <a:srgbClr val="2992A7"/>
              </a:solidFill>
              <a:latin typeface="Arial" panose="020B0604020202020204" pitchFamily="34" charset="0"/>
            </a:endParaRPr>
          </a:p>
        </p:txBody>
      </p:sp>
      <p:pic>
        <p:nvPicPr>
          <p:cNvPr id="1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256" y="630510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63430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9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полнение плана реализации проекта</a:t>
            </a: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415498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означено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ста сбора детей и направлений пути эвакуации в групповых помещениях. 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 полки и необходимую документацию педагога нанесены опознавательные символы.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ы инструктажи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 эвакуации, с опорой на р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зработанный алгоритм эвакуации, доступный пониманию детей разного возраста, во всех возрастных группах.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ы инструктажи, с опорой на разработанные визуализированные алгоритмы эвакуации, с сотрудниками ДОУ.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лгоритмы размещены на рабочих местах всех сотрудников, а также в групповых помещениях на видном месте для воспитанников.</a:t>
            </a:r>
          </a:p>
          <a:p>
            <a:pPr algn="ctr"/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831999" y="3314548"/>
            <a:ext cx="7624018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10777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45</TotalTime>
  <Words>1184</Words>
  <Application>Microsoft Office PowerPoint</Application>
  <PresentationFormat>Экран (4:3)</PresentationFormat>
  <Paragraphs>240</Paragraphs>
  <Slides>16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2" baseType="lpstr">
      <vt:lpstr>Arial</vt:lpstr>
      <vt:lpstr>Calibri</vt:lpstr>
      <vt:lpstr>Franklin Gothic Book</vt:lpstr>
      <vt:lpstr>Times New Roman</vt:lpstr>
      <vt:lpstr>Тема Office</vt:lpstr>
      <vt:lpstr>think-cell Slide</vt:lpstr>
      <vt:lpstr>Челябинская область</vt:lpstr>
      <vt:lpstr>Презентация PowerPoint</vt:lpstr>
      <vt:lpstr>Презентация PowerPoint</vt:lpstr>
      <vt:lpstr>Презентация PowerPoint</vt:lpstr>
      <vt:lpstr>Челябинская область</vt:lpstr>
      <vt:lpstr>Презентация PowerPoint</vt:lpstr>
      <vt:lpstr>Презентация PowerPoint</vt:lpstr>
      <vt:lpstr>Достигнутые результаты (было и стало) </vt:lpstr>
      <vt:lpstr>Челябинская область</vt:lpstr>
      <vt:lpstr>Челябинская область</vt:lpstr>
      <vt:lpstr>Презентация PowerPoint</vt:lpstr>
      <vt:lpstr>Презентация PowerPoint</vt:lpstr>
      <vt:lpstr> Стандарт процесса  «Оптимизация процесса эвакуации детей и сотрудников  МБДОУ «ДС №23» при срабатывании АПС» </vt:lpstr>
      <vt:lpstr> Стандарт процесса  «Оптимизация процесса эвакуации детей и сотрудников  МБДОУ «ДС №23» при срабатывании АПС» </vt:lpstr>
      <vt:lpstr> Стандарт процесса  «Оптимизация процесса эвакуации детей и сотрудников  МБДОУ «ДС №23» при срабатывании АПС» 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Анастасия Прудникова</cp:lastModifiedBy>
  <cp:revision>154</cp:revision>
  <cp:lastPrinted>2019-04-25T09:14:46Z</cp:lastPrinted>
  <dcterms:created xsi:type="dcterms:W3CDTF">2018-08-20T14:01:12Z</dcterms:created>
  <dcterms:modified xsi:type="dcterms:W3CDTF">2025-05-12T08:24:44Z</dcterms:modified>
</cp:coreProperties>
</file>